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1" d="100"/>
          <a:sy n="71" d="100"/>
        </p:scale>
        <p:origin x="444" y="-2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6540" y="5998973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014" y="6017276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cxnSpLocks/>
            <a:stCxn id="23" idx="0"/>
            <a:endCxn id="26" idx="2"/>
          </p:cNvCxnSpPr>
          <p:nvPr/>
        </p:nvCxnSpPr>
        <p:spPr>
          <a:xfrm flipV="1">
            <a:off x="3126540" y="5926479"/>
            <a:ext cx="19111" cy="72494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45651" y="1081879"/>
            <a:ext cx="5400000" cy="48446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1846" y="1660292"/>
            <a:ext cx="5333907" cy="646331"/>
            <a:chOff x="486136" y="2864160"/>
            <a:chExt cx="5333907" cy="646331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09145" y="2266062"/>
            <a:ext cx="5285600" cy="646331"/>
            <a:chOff x="486586" y="3299415"/>
            <a:chExt cx="5285600" cy="646331"/>
          </a:xfrm>
        </p:grpSpPr>
        <p:sp>
          <p:nvSpPr>
            <p:cNvPr id="53" name="Rectangle 52"/>
            <p:cNvSpPr/>
            <p:nvPr/>
          </p:nvSpPr>
          <p:spPr>
            <a:xfrm>
              <a:off x="831683" y="3299415"/>
              <a:ext cx="494050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cxnSpLocks/>
            <a:stCxn id="24" idx="0"/>
            <a:endCxn id="65" idx="2"/>
          </p:cNvCxnSpPr>
          <p:nvPr/>
        </p:nvCxnSpPr>
        <p:spPr>
          <a:xfrm flipH="1" flipV="1">
            <a:off x="8891721" y="5954047"/>
            <a:ext cx="171293" cy="63229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191721" y="1067475"/>
            <a:ext cx="5400000" cy="4886572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32756" y="2057897"/>
            <a:ext cx="5356612" cy="769441"/>
            <a:chOff x="6387270" y="1470177"/>
            <a:chExt cx="5356612" cy="76944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387270" y="1525605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91476" y="1470177"/>
              <a:ext cx="495240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6" y="1476940"/>
            <a:ext cx="5379752" cy="600164"/>
            <a:chOff x="6384114" y="1544891"/>
            <a:chExt cx="5379752" cy="600164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384114" y="1645961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30" name="Freeform 207">
            <a:extLst>
              <a:ext uri="{FF2B5EF4-FFF2-40B4-BE49-F238E27FC236}">
                <a16:creationId xmlns:a16="http://schemas.microsoft.com/office/drawing/2014/main" id="{F0A4BF57-05D2-4DAD-8047-299D5514110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8981" y="2966607"/>
            <a:ext cx="368121" cy="367041"/>
          </a:xfrm>
          <a:custGeom>
            <a:avLst/>
            <a:gdLst>
              <a:gd name="T0" fmla="*/ 149 w 512"/>
              <a:gd name="T1" fmla="*/ 266 h 512"/>
              <a:gd name="T2" fmla="*/ 142 w 512"/>
              <a:gd name="T3" fmla="*/ 267 h 512"/>
              <a:gd name="T4" fmla="*/ 178 w 512"/>
              <a:gd name="T5" fmla="*/ 160 h 512"/>
              <a:gd name="T6" fmla="*/ 333 w 512"/>
              <a:gd name="T7" fmla="*/ 160 h 512"/>
              <a:gd name="T8" fmla="*/ 369 w 512"/>
              <a:gd name="T9" fmla="*/ 267 h 512"/>
              <a:gd name="T10" fmla="*/ 362 w 512"/>
              <a:gd name="T11" fmla="*/ 266 h 512"/>
              <a:gd name="T12" fmla="*/ 149 w 512"/>
              <a:gd name="T13" fmla="*/ 266 h 512"/>
              <a:gd name="T14" fmla="*/ 373 w 512"/>
              <a:gd name="T15" fmla="*/ 299 h 512"/>
              <a:gd name="T16" fmla="*/ 373 w 512"/>
              <a:gd name="T17" fmla="*/ 341 h 512"/>
              <a:gd name="T18" fmla="*/ 362 w 512"/>
              <a:gd name="T19" fmla="*/ 352 h 512"/>
              <a:gd name="T20" fmla="*/ 149 w 512"/>
              <a:gd name="T21" fmla="*/ 352 h 512"/>
              <a:gd name="T22" fmla="*/ 138 w 512"/>
              <a:gd name="T23" fmla="*/ 341 h 512"/>
              <a:gd name="T24" fmla="*/ 138 w 512"/>
              <a:gd name="T25" fmla="*/ 299 h 512"/>
              <a:gd name="T26" fmla="*/ 149 w 512"/>
              <a:gd name="T27" fmla="*/ 288 h 512"/>
              <a:gd name="T28" fmla="*/ 362 w 512"/>
              <a:gd name="T29" fmla="*/ 288 h 512"/>
              <a:gd name="T30" fmla="*/ 373 w 512"/>
              <a:gd name="T31" fmla="*/ 299 h 512"/>
              <a:gd name="T32" fmla="*/ 309 w 512"/>
              <a:gd name="T33" fmla="*/ 320 h 512"/>
              <a:gd name="T34" fmla="*/ 298 w 512"/>
              <a:gd name="T35" fmla="*/ 309 h 512"/>
              <a:gd name="T36" fmla="*/ 288 w 512"/>
              <a:gd name="T37" fmla="*/ 320 h 512"/>
              <a:gd name="T38" fmla="*/ 298 w 512"/>
              <a:gd name="T39" fmla="*/ 330 h 512"/>
              <a:gd name="T40" fmla="*/ 309 w 512"/>
              <a:gd name="T41" fmla="*/ 320 h 512"/>
              <a:gd name="T42" fmla="*/ 352 w 512"/>
              <a:gd name="T43" fmla="*/ 320 h 512"/>
              <a:gd name="T44" fmla="*/ 341 w 512"/>
              <a:gd name="T45" fmla="*/ 309 h 512"/>
              <a:gd name="T46" fmla="*/ 330 w 512"/>
              <a:gd name="T47" fmla="*/ 320 h 512"/>
              <a:gd name="T48" fmla="*/ 341 w 512"/>
              <a:gd name="T49" fmla="*/ 330 h 512"/>
              <a:gd name="T50" fmla="*/ 352 w 512"/>
              <a:gd name="T51" fmla="*/ 320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94 w 512"/>
              <a:gd name="T63" fmla="*/ 277 h 512"/>
              <a:gd name="T64" fmla="*/ 394 w 512"/>
              <a:gd name="T65" fmla="*/ 274 h 512"/>
              <a:gd name="T66" fmla="*/ 351 w 512"/>
              <a:gd name="T67" fmla="*/ 146 h 512"/>
              <a:gd name="T68" fmla="*/ 351 w 512"/>
              <a:gd name="T69" fmla="*/ 145 h 512"/>
              <a:gd name="T70" fmla="*/ 341 w 512"/>
              <a:gd name="T71" fmla="*/ 138 h 512"/>
              <a:gd name="T72" fmla="*/ 170 w 512"/>
              <a:gd name="T73" fmla="*/ 138 h 512"/>
              <a:gd name="T74" fmla="*/ 160 w 512"/>
              <a:gd name="T75" fmla="*/ 145 h 512"/>
              <a:gd name="T76" fmla="*/ 160 w 512"/>
              <a:gd name="T77" fmla="*/ 146 h 512"/>
              <a:gd name="T78" fmla="*/ 118 w 512"/>
              <a:gd name="T79" fmla="*/ 274 h 512"/>
              <a:gd name="T80" fmla="*/ 117 w 512"/>
              <a:gd name="T81" fmla="*/ 277 h 512"/>
              <a:gd name="T82" fmla="*/ 117 w 512"/>
              <a:gd name="T83" fmla="*/ 298 h 512"/>
              <a:gd name="T84" fmla="*/ 117 w 512"/>
              <a:gd name="T85" fmla="*/ 298 h 512"/>
              <a:gd name="T86" fmla="*/ 117 w 512"/>
              <a:gd name="T87" fmla="*/ 299 h 512"/>
              <a:gd name="T88" fmla="*/ 117 w 512"/>
              <a:gd name="T89" fmla="*/ 341 h 512"/>
              <a:gd name="T90" fmla="*/ 149 w 512"/>
              <a:gd name="T91" fmla="*/ 373 h 512"/>
              <a:gd name="T92" fmla="*/ 362 w 512"/>
              <a:gd name="T93" fmla="*/ 373 h 512"/>
              <a:gd name="T94" fmla="*/ 394 w 512"/>
              <a:gd name="T95" fmla="*/ 341 h 512"/>
              <a:gd name="T96" fmla="*/ 394 w 512"/>
              <a:gd name="T97" fmla="*/ 299 h 512"/>
              <a:gd name="T98" fmla="*/ 394 w 512"/>
              <a:gd name="T99" fmla="*/ 298 h 512"/>
              <a:gd name="T100" fmla="*/ 394 w 512"/>
              <a:gd name="T101" fmla="*/ 298 h 512"/>
              <a:gd name="T102" fmla="*/ 394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149" y="266"/>
                </a:moveTo>
                <a:cubicBezTo>
                  <a:pt x="147" y="266"/>
                  <a:pt x="144" y="267"/>
                  <a:pt x="142" y="267"/>
                </a:cubicBezTo>
                <a:cubicBezTo>
                  <a:pt x="178" y="160"/>
                  <a:pt x="178" y="160"/>
                  <a:pt x="178" y="160"/>
                </a:cubicBezTo>
                <a:cubicBezTo>
                  <a:pt x="333" y="160"/>
                  <a:pt x="333" y="160"/>
                  <a:pt x="333" y="160"/>
                </a:cubicBezTo>
                <a:cubicBezTo>
                  <a:pt x="369" y="267"/>
                  <a:pt x="369" y="267"/>
                  <a:pt x="369" y="267"/>
                </a:cubicBezTo>
                <a:cubicBezTo>
                  <a:pt x="367" y="267"/>
                  <a:pt x="365" y="266"/>
                  <a:pt x="362" y="266"/>
                </a:cubicBezTo>
                <a:lnTo>
                  <a:pt x="149" y="266"/>
                </a:lnTo>
                <a:close/>
                <a:moveTo>
                  <a:pt x="373" y="299"/>
                </a:moveTo>
                <a:cubicBezTo>
                  <a:pt x="373" y="341"/>
                  <a:pt x="373" y="341"/>
                  <a:pt x="373" y="341"/>
                </a:cubicBezTo>
                <a:cubicBezTo>
                  <a:pt x="373" y="347"/>
                  <a:pt x="368" y="352"/>
                  <a:pt x="362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3" y="352"/>
                  <a:pt x="138" y="347"/>
                  <a:pt x="138" y="341"/>
                </a:cubicBezTo>
                <a:cubicBezTo>
                  <a:pt x="138" y="299"/>
                  <a:pt x="138" y="299"/>
                  <a:pt x="138" y="299"/>
                </a:cubicBezTo>
                <a:cubicBezTo>
                  <a:pt x="138" y="293"/>
                  <a:pt x="143" y="288"/>
                  <a:pt x="149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93"/>
                  <a:pt x="373" y="299"/>
                </a:cubicBezTo>
                <a:close/>
                <a:moveTo>
                  <a:pt x="309" y="320"/>
                </a:moveTo>
                <a:cubicBezTo>
                  <a:pt x="309" y="314"/>
                  <a:pt x="304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ubicBezTo>
                  <a:pt x="288" y="326"/>
                  <a:pt x="292" y="330"/>
                  <a:pt x="298" y="330"/>
                </a:cubicBezTo>
                <a:cubicBezTo>
                  <a:pt x="304" y="330"/>
                  <a:pt x="309" y="326"/>
                  <a:pt x="309" y="320"/>
                </a:cubicBezTo>
                <a:close/>
                <a:moveTo>
                  <a:pt x="352" y="320"/>
                </a:moveTo>
                <a:cubicBezTo>
                  <a:pt x="352" y="314"/>
                  <a:pt x="347" y="309"/>
                  <a:pt x="341" y="309"/>
                </a:cubicBezTo>
                <a:cubicBezTo>
                  <a:pt x="335" y="309"/>
                  <a:pt x="330" y="314"/>
                  <a:pt x="330" y="320"/>
                </a:cubicBezTo>
                <a:cubicBezTo>
                  <a:pt x="330" y="326"/>
                  <a:pt x="335" y="330"/>
                  <a:pt x="341" y="330"/>
                </a:cubicBezTo>
                <a:cubicBezTo>
                  <a:pt x="347" y="330"/>
                  <a:pt x="352" y="326"/>
                  <a:pt x="352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77"/>
                </a:moveTo>
                <a:cubicBezTo>
                  <a:pt x="394" y="276"/>
                  <a:pt x="394" y="275"/>
                  <a:pt x="394" y="274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1" y="145"/>
                </a:cubicBezTo>
                <a:cubicBezTo>
                  <a:pt x="349" y="141"/>
                  <a:pt x="346" y="138"/>
                  <a:pt x="341" y="138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66" y="138"/>
                  <a:pt x="162" y="141"/>
                  <a:pt x="160" y="145"/>
                </a:cubicBezTo>
                <a:cubicBezTo>
                  <a:pt x="160" y="145"/>
                  <a:pt x="160" y="145"/>
                  <a:pt x="160" y="146"/>
                </a:cubicBezTo>
                <a:cubicBezTo>
                  <a:pt x="118" y="274"/>
                  <a:pt x="118" y="274"/>
                  <a:pt x="118" y="274"/>
                </a:cubicBezTo>
                <a:cubicBezTo>
                  <a:pt x="117" y="275"/>
                  <a:pt x="117" y="276"/>
                  <a:pt x="117" y="277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9"/>
                </a:cubicBezTo>
                <a:cubicBezTo>
                  <a:pt x="117" y="341"/>
                  <a:pt x="117" y="341"/>
                  <a:pt x="117" y="341"/>
                </a:cubicBezTo>
                <a:cubicBezTo>
                  <a:pt x="117" y="359"/>
                  <a:pt x="131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80" y="373"/>
                  <a:pt x="394" y="359"/>
                  <a:pt x="394" y="341"/>
                </a:cubicBezTo>
                <a:cubicBezTo>
                  <a:pt x="394" y="299"/>
                  <a:pt x="394" y="299"/>
                  <a:pt x="394" y="299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98"/>
                  <a:pt x="394" y="298"/>
                  <a:pt x="394" y="298"/>
                </a:cubicBezTo>
                <a:lnTo>
                  <a:pt x="394" y="277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31" name="Freeform 97">
            <a:extLst>
              <a:ext uri="{FF2B5EF4-FFF2-40B4-BE49-F238E27FC236}">
                <a16:creationId xmlns:a16="http://schemas.microsoft.com/office/drawing/2014/main" id="{DDB4A403-01AA-403E-A89C-3F9E3AF158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5849" y="3510761"/>
            <a:ext cx="369021" cy="369021"/>
          </a:xfrm>
          <a:custGeom>
            <a:avLst/>
            <a:gdLst>
              <a:gd name="T0" fmla="*/ 298 w 512"/>
              <a:gd name="T1" fmla="*/ 298 h 512"/>
              <a:gd name="T2" fmla="*/ 373 w 512"/>
              <a:gd name="T3" fmla="*/ 298 h 512"/>
              <a:gd name="T4" fmla="*/ 373 w 512"/>
              <a:gd name="T5" fmla="*/ 373 h 512"/>
              <a:gd name="T6" fmla="*/ 298 w 512"/>
              <a:gd name="T7" fmla="*/ 373 h 512"/>
              <a:gd name="T8" fmla="*/ 298 w 512"/>
              <a:gd name="T9" fmla="*/ 298 h 512"/>
              <a:gd name="T10" fmla="*/ 138 w 512"/>
              <a:gd name="T11" fmla="*/ 213 h 512"/>
              <a:gd name="T12" fmla="*/ 213 w 512"/>
              <a:gd name="T13" fmla="*/ 213 h 512"/>
              <a:gd name="T14" fmla="*/ 213 w 512"/>
              <a:gd name="T15" fmla="*/ 138 h 512"/>
              <a:gd name="T16" fmla="*/ 138 w 512"/>
              <a:gd name="T17" fmla="*/ 138 h 512"/>
              <a:gd name="T18" fmla="*/ 138 w 512"/>
              <a:gd name="T19" fmla="*/ 213 h 512"/>
              <a:gd name="T20" fmla="*/ 138 w 512"/>
              <a:gd name="T21" fmla="*/ 373 h 512"/>
              <a:gd name="T22" fmla="*/ 213 w 512"/>
              <a:gd name="T23" fmla="*/ 373 h 512"/>
              <a:gd name="T24" fmla="*/ 213 w 512"/>
              <a:gd name="T25" fmla="*/ 298 h 512"/>
              <a:gd name="T26" fmla="*/ 138 w 512"/>
              <a:gd name="T27" fmla="*/ 298 h 512"/>
              <a:gd name="T28" fmla="*/ 138 w 512"/>
              <a:gd name="T29" fmla="*/ 37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34 w 512"/>
              <a:gd name="T41" fmla="*/ 288 h 512"/>
              <a:gd name="T42" fmla="*/ 224 w 512"/>
              <a:gd name="T43" fmla="*/ 277 h 512"/>
              <a:gd name="T44" fmla="*/ 128 w 512"/>
              <a:gd name="T45" fmla="*/ 277 h 512"/>
              <a:gd name="T46" fmla="*/ 117 w 512"/>
              <a:gd name="T47" fmla="*/ 288 h 512"/>
              <a:gd name="T48" fmla="*/ 117 w 512"/>
              <a:gd name="T49" fmla="*/ 384 h 512"/>
              <a:gd name="T50" fmla="*/ 128 w 512"/>
              <a:gd name="T51" fmla="*/ 394 h 512"/>
              <a:gd name="T52" fmla="*/ 224 w 512"/>
              <a:gd name="T53" fmla="*/ 394 h 512"/>
              <a:gd name="T54" fmla="*/ 234 w 512"/>
              <a:gd name="T55" fmla="*/ 384 h 512"/>
              <a:gd name="T56" fmla="*/ 234 w 512"/>
              <a:gd name="T57" fmla="*/ 288 h 512"/>
              <a:gd name="T58" fmla="*/ 234 w 512"/>
              <a:gd name="T59" fmla="*/ 128 h 512"/>
              <a:gd name="T60" fmla="*/ 224 w 512"/>
              <a:gd name="T61" fmla="*/ 117 h 512"/>
              <a:gd name="T62" fmla="*/ 128 w 512"/>
              <a:gd name="T63" fmla="*/ 117 h 512"/>
              <a:gd name="T64" fmla="*/ 117 w 512"/>
              <a:gd name="T65" fmla="*/ 128 h 512"/>
              <a:gd name="T66" fmla="*/ 117 w 512"/>
              <a:gd name="T67" fmla="*/ 224 h 512"/>
              <a:gd name="T68" fmla="*/ 128 w 512"/>
              <a:gd name="T69" fmla="*/ 234 h 512"/>
              <a:gd name="T70" fmla="*/ 224 w 512"/>
              <a:gd name="T71" fmla="*/ 234 h 512"/>
              <a:gd name="T72" fmla="*/ 234 w 512"/>
              <a:gd name="T73" fmla="*/ 224 h 512"/>
              <a:gd name="T74" fmla="*/ 234 w 512"/>
              <a:gd name="T75" fmla="*/ 128 h 512"/>
              <a:gd name="T76" fmla="*/ 394 w 512"/>
              <a:gd name="T77" fmla="*/ 288 h 512"/>
              <a:gd name="T78" fmla="*/ 384 w 512"/>
              <a:gd name="T79" fmla="*/ 277 h 512"/>
              <a:gd name="T80" fmla="*/ 288 w 512"/>
              <a:gd name="T81" fmla="*/ 277 h 512"/>
              <a:gd name="T82" fmla="*/ 277 w 512"/>
              <a:gd name="T83" fmla="*/ 288 h 512"/>
              <a:gd name="T84" fmla="*/ 277 w 512"/>
              <a:gd name="T85" fmla="*/ 384 h 512"/>
              <a:gd name="T86" fmla="*/ 288 w 512"/>
              <a:gd name="T87" fmla="*/ 394 h 512"/>
              <a:gd name="T88" fmla="*/ 384 w 512"/>
              <a:gd name="T89" fmla="*/ 394 h 512"/>
              <a:gd name="T90" fmla="*/ 394 w 512"/>
              <a:gd name="T91" fmla="*/ 384 h 512"/>
              <a:gd name="T92" fmla="*/ 394 w 512"/>
              <a:gd name="T93" fmla="*/ 288 h 512"/>
              <a:gd name="T94" fmla="*/ 394 w 512"/>
              <a:gd name="T95" fmla="*/ 128 h 512"/>
              <a:gd name="T96" fmla="*/ 384 w 512"/>
              <a:gd name="T97" fmla="*/ 117 h 512"/>
              <a:gd name="T98" fmla="*/ 288 w 512"/>
              <a:gd name="T99" fmla="*/ 117 h 512"/>
              <a:gd name="T100" fmla="*/ 277 w 512"/>
              <a:gd name="T101" fmla="*/ 128 h 512"/>
              <a:gd name="T102" fmla="*/ 277 w 512"/>
              <a:gd name="T103" fmla="*/ 224 h 512"/>
              <a:gd name="T104" fmla="*/ 288 w 512"/>
              <a:gd name="T105" fmla="*/ 234 h 512"/>
              <a:gd name="T106" fmla="*/ 384 w 512"/>
              <a:gd name="T107" fmla="*/ 234 h 512"/>
              <a:gd name="T108" fmla="*/ 394 w 512"/>
              <a:gd name="T109" fmla="*/ 224 h 512"/>
              <a:gd name="T110" fmla="*/ 394 w 512"/>
              <a:gd name="T111" fmla="*/ 128 h 512"/>
              <a:gd name="T112" fmla="*/ 298 w 512"/>
              <a:gd name="T113" fmla="*/ 213 h 512"/>
              <a:gd name="T114" fmla="*/ 373 w 512"/>
              <a:gd name="T115" fmla="*/ 213 h 512"/>
              <a:gd name="T116" fmla="*/ 373 w 512"/>
              <a:gd name="T117" fmla="*/ 138 h 512"/>
              <a:gd name="T118" fmla="*/ 298 w 512"/>
              <a:gd name="T119" fmla="*/ 138 h 512"/>
              <a:gd name="T120" fmla="*/ 298 w 512"/>
              <a:gd name="T121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373" y="298"/>
                  <a:pt x="373" y="298"/>
                  <a:pt x="373" y="298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298" y="373"/>
                  <a:pt x="298" y="373"/>
                  <a:pt x="298" y="373"/>
                </a:cubicBezTo>
                <a:lnTo>
                  <a:pt x="298" y="298"/>
                </a:lnTo>
                <a:close/>
                <a:moveTo>
                  <a:pt x="138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213"/>
                </a:lnTo>
                <a:close/>
                <a:moveTo>
                  <a:pt x="138" y="373"/>
                </a:moveTo>
                <a:cubicBezTo>
                  <a:pt x="213" y="373"/>
                  <a:pt x="213" y="373"/>
                  <a:pt x="213" y="373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138" y="298"/>
                  <a:pt x="138" y="298"/>
                  <a:pt x="138" y="298"/>
                </a:cubicBezTo>
                <a:lnTo>
                  <a:pt x="138" y="3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4" y="288"/>
                </a:moveTo>
                <a:cubicBezTo>
                  <a:pt x="234" y="282"/>
                  <a:pt x="230" y="277"/>
                  <a:pt x="224" y="277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2" y="277"/>
                  <a:pt x="117" y="282"/>
                  <a:pt x="117" y="28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lnTo>
                  <a:pt x="234" y="288"/>
                </a:lnTo>
                <a:close/>
                <a:moveTo>
                  <a:pt x="234" y="128"/>
                </a:moveTo>
                <a:cubicBezTo>
                  <a:pt x="234" y="122"/>
                  <a:pt x="230" y="117"/>
                  <a:pt x="22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30"/>
                  <a:pt x="122" y="234"/>
                  <a:pt x="128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30" y="234"/>
                  <a:pt x="234" y="230"/>
                  <a:pt x="234" y="224"/>
                </a:cubicBezTo>
                <a:lnTo>
                  <a:pt x="234" y="128"/>
                </a:lnTo>
                <a:close/>
                <a:moveTo>
                  <a:pt x="394" y="288"/>
                </a:moveTo>
                <a:cubicBezTo>
                  <a:pt x="394" y="282"/>
                  <a:pt x="390" y="277"/>
                  <a:pt x="384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2" y="277"/>
                  <a:pt x="277" y="282"/>
                  <a:pt x="277" y="288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88"/>
                </a:ln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22"/>
                  <a:pt x="277" y="128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30"/>
                  <a:pt x="282" y="234"/>
                  <a:pt x="288" y="234"/>
                </a:cubicBezTo>
                <a:cubicBezTo>
                  <a:pt x="384" y="234"/>
                  <a:pt x="384" y="234"/>
                  <a:pt x="384" y="234"/>
                </a:cubicBezTo>
                <a:cubicBezTo>
                  <a:pt x="390" y="234"/>
                  <a:pt x="394" y="230"/>
                  <a:pt x="394" y="224"/>
                </a:cubicBezTo>
                <a:lnTo>
                  <a:pt x="394" y="128"/>
                </a:lnTo>
                <a:close/>
                <a:moveTo>
                  <a:pt x="298" y="213"/>
                </a:moveTo>
                <a:cubicBezTo>
                  <a:pt x="373" y="213"/>
                  <a:pt x="373" y="213"/>
                  <a:pt x="373" y="21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298" y="138"/>
                  <a:pt x="298" y="138"/>
                  <a:pt x="298" y="138"/>
                </a:cubicBezTo>
                <a:lnTo>
                  <a:pt x="298" y="213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9898A92-2DE1-40DD-BC2A-328F594425D2}"/>
              </a:ext>
            </a:extLst>
          </p:cNvPr>
          <p:cNvSpPr/>
          <p:nvPr/>
        </p:nvSpPr>
        <p:spPr>
          <a:xfrm>
            <a:off x="837102" y="2902014"/>
            <a:ext cx="49405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High number of users 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– Multiple users can access the same file when used  as a cloud computing file/applic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0FA4D6F-3493-4C60-9DB2-63D501B12979}"/>
              </a:ext>
            </a:extLst>
          </p:cNvPr>
          <p:cNvSpPr/>
          <p:nvPr/>
        </p:nvSpPr>
        <p:spPr>
          <a:xfrm>
            <a:off x="788996" y="3351169"/>
            <a:ext cx="494050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 dirty="0">
                <a:latin typeface="Arial"/>
                <a:ea typeface="Open Sans" panose="020B0606030504020204" pitchFamily="34" charset="0"/>
                <a:cs typeface="Arial"/>
              </a:rPr>
              <a:t> Degree of Integration</a:t>
            </a:r>
            <a:r>
              <a:rPr lang="en-AU" sz="1100" dirty="0">
                <a:latin typeface="Arial"/>
                <a:ea typeface="Open Sans" panose="020B0606030504020204" pitchFamily="34" charset="0"/>
                <a:cs typeface="Arial"/>
              </a:rPr>
              <a:t>– Applications with high degree of integration must be cloud- implemented due to its advantage of giving access to applications to multiple users from multiple devi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BCEA183-3A0A-47F6-ABB2-1EB4A4F49F0A}"/>
              </a:ext>
            </a:extLst>
          </p:cNvPr>
          <p:cNvSpPr/>
          <p:nvPr/>
        </p:nvSpPr>
        <p:spPr>
          <a:xfrm>
            <a:off x="892691" y="3931844"/>
            <a:ext cx="49405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Amount of data 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– When a large amount of data is involved then cloud computing is the cost efficient approach. Consumers need not invest in additional hardware for extra data storage </a:t>
            </a:r>
          </a:p>
        </p:txBody>
      </p:sp>
      <p:sp>
        <p:nvSpPr>
          <p:cNvPr id="39" name="Freeform 207">
            <a:extLst>
              <a:ext uri="{FF2B5EF4-FFF2-40B4-BE49-F238E27FC236}">
                <a16:creationId xmlns:a16="http://schemas.microsoft.com/office/drawing/2014/main" id="{6AAAE715-EDA7-4D1B-9AFE-CB3E0D2D22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2113" y="4010272"/>
            <a:ext cx="368121" cy="367041"/>
          </a:xfrm>
          <a:custGeom>
            <a:avLst/>
            <a:gdLst>
              <a:gd name="T0" fmla="*/ 149 w 512"/>
              <a:gd name="T1" fmla="*/ 266 h 512"/>
              <a:gd name="T2" fmla="*/ 142 w 512"/>
              <a:gd name="T3" fmla="*/ 267 h 512"/>
              <a:gd name="T4" fmla="*/ 178 w 512"/>
              <a:gd name="T5" fmla="*/ 160 h 512"/>
              <a:gd name="T6" fmla="*/ 333 w 512"/>
              <a:gd name="T7" fmla="*/ 160 h 512"/>
              <a:gd name="T8" fmla="*/ 369 w 512"/>
              <a:gd name="T9" fmla="*/ 267 h 512"/>
              <a:gd name="T10" fmla="*/ 362 w 512"/>
              <a:gd name="T11" fmla="*/ 266 h 512"/>
              <a:gd name="T12" fmla="*/ 149 w 512"/>
              <a:gd name="T13" fmla="*/ 266 h 512"/>
              <a:gd name="T14" fmla="*/ 373 w 512"/>
              <a:gd name="T15" fmla="*/ 299 h 512"/>
              <a:gd name="T16" fmla="*/ 373 w 512"/>
              <a:gd name="T17" fmla="*/ 341 h 512"/>
              <a:gd name="T18" fmla="*/ 362 w 512"/>
              <a:gd name="T19" fmla="*/ 352 h 512"/>
              <a:gd name="T20" fmla="*/ 149 w 512"/>
              <a:gd name="T21" fmla="*/ 352 h 512"/>
              <a:gd name="T22" fmla="*/ 138 w 512"/>
              <a:gd name="T23" fmla="*/ 341 h 512"/>
              <a:gd name="T24" fmla="*/ 138 w 512"/>
              <a:gd name="T25" fmla="*/ 299 h 512"/>
              <a:gd name="T26" fmla="*/ 149 w 512"/>
              <a:gd name="T27" fmla="*/ 288 h 512"/>
              <a:gd name="T28" fmla="*/ 362 w 512"/>
              <a:gd name="T29" fmla="*/ 288 h 512"/>
              <a:gd name="T30" fmla="*/ 373 w 512"/>
              <a:gd name="T31" fmla="*/ 299 h 512"/>
              <a:gd name="T32" fmla="*/ 309 w 512"/>
              <a:gd name="T33" fmla="*/ 320 h 512"/>
              <a:gd name="T34" fmla="*/ 298 w 512"/>
              <a:gd name="T35" fmla="*/ 309 h 512"/>
              <a:gd name="T36" fmla="*/ 288 w 512"/>
              <a:gd name="T37" fmla="*/ 320 h 512"/>
              <a:gd name="T38" fmla="*/ 298 w 512"/>
              <a:gd name="T39" fmla="*/ 330 h 512"/>
              <a:gd name="T40" fmla="*/ 309 w 512"/>
              <a:gd name="T41" fmla="*/ 320 h 512"/>
              <a:gd name="T42" fmla="*/ 352 w 512"/>
              <a:gd name="T43" fmla="*/ 320 h 512"/>
              <a:gd name="T44" fmla="*/ 341 w 512"/>
              <a:gd name="T45" fmla="*/ 309 h 512"/>
              <a:gd name="T46" fmla="*/ 330 w 512"/>
              <a:gd name="T47" fmla="*/ 320 h 512"/>
              <a:gd name="T48" fmla="*/ 341 w 512"/>
              <a:gd name="T49" fmla="*/ 330 h 512"/>
              <a:gd name="T50" fmla="*/ 352 w 512"/>
              <a:gd name="T51" fmla="*/ 320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94 w 512"/>
              <a:gd name="T63" fmla="*/ 277 h 512"/>
              <a:gd name="T64" fmla="*/ 394 w 512"/>
              <a:gd name="T65" fmla="*/ 274 h 512"/>
              <a:gd name="T66" fmla="*/ 351 w 512"/>
              <a:gd name="T67" fmla="*/ 146 h 512"/>
              <a:gd name="T68" fmla="*/ 351 w 512"/>
              <a:gd name="T69" fmla="*/ 145 h 512"/>
              <a:gd name="T70" fmla="*/ 341 w 512"/>
              <a:gd name="T71" fmla="*/ 138 h 512"/>
              <a:gd name="T72" fmla="*/ 170 w 512"/>
              <a:gd name="T73" fmla="*/ 138 h 512"/>
              <a:gd name="T74" fmla="*/ 160 w 512"/>
              <a:gd name="T75" fmla="*/ 145 h 512"/>
              <a:gd name="T76" fmla="*/ 160 w 512"/>
              <a:gd name="T77" fmla="*/ 146 h 512"/>
              <a:gd name="T78" fmla="*/ 118 w 512"/>
              <a:gd name="T79" fmla="*/ 274 h 512"/>
              <a:gd name="T80" fmla="*/ 117 w 512"/>
              <a:gd name="T81" fmla="*/ 277 h 512"/>
              <a:gd name="T82" fmla="*/ 117 w 512"/>
              <a:gd name="T83" fmla="*/ 298 h 512"/>
              <a:gd name="T84" fmla="*/ 117 w 512"/>
              <a:gd name="T85" fmla="*/ 298 h 512"/>
              <a:gd name="T86" fmla="*/ 117 w 512"/>
              <a:gd name="T87" fmla="*/ 299 h 512"/>
              <a:gd name="T88" fmla="*/ 117 w 512"/>
              <a:gd name="T89" fmla="*/ 341 h 512"/>
              <a:gd name="T90" fmla="*/ 149 w 512"/>
              <a:gd name="T91" fmla="*/ 373 h 512"/>
              <a:gd name="T92" fmla="*/ 362 w 512"/>
              <a:gd name="T93" fmla="*/ 373 h 512"/>
              <a:gd name="T94" fmla="*/ 394 w 512"/>
              <a:gd name="T95" fmla="*/ 341 h 512"/>
              <a:gd name="T96" fmla="*/ 394 w 512"/>
              <a:gd name="T97" fmla="*/ 299 h 512"/>
              <a:gd name="T98" fmla="*/ 394 w 512"/>
              <a:gd name="T99" fmla="*/ 298 h 512"/>
              <a:gd name="T100" fmla="*/ 394 w 512"/>
              <a:gd name="T101" fmla="*/ 298 h 512"/>
              <a:gd name="T102" fmla="*/ 394 w 512"/>
              <a:gd name="T103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12" h="512">
                <a:moveTo>
                  <a:pt x="149" y="266"/>
                </a:moveTo>
                <a:cubicBezTo>
                  <a:pt x="147" y="266"/>
                  <a:pt x="144" y="267"/>
                  <a:pt x="142" y="267"/>
                </a:cubicBezTo>
                <a:cubicBezTo>
                  <a:pt x="178" y="160"/>
                  <a:pt x="178" y="160"/>
                  <a:pt x="178" y="160"/>
                </a:cubicBezTo>
                <a:cubicBezTo>
                  <a:pt x="333" y="160"/>
                  <a:pt x="333" y="160"/>
                  <a:pt x="333" y="160"/>
                </a:cubicBezTo>
                <a:cubicBezTo>
                  <a:pt x="369" y="267"/>
                  <a:pt x="369" y="267"/>
                  <a:pt x="369" y="267"/>
                </a:cubicBezTo>
                <a:cubicBezTo>
                  <a:pt x="367" y="267"/>
                  <a:pt x="365" y="266"/>
                  <a:pt x="362" y="266"/>
                </a:cubicBezTo>
                <a:lnTo>
                  <a:pt x="149" y="266"/>
                </a:lnTo>
                <a:close/>
                <a:moveTo>
                  <a:pt x="373" y="299"/>
                </a:moveTo>
                <a:cubicBezTo>
                  <a:pt x="373" y="341"/>
                  <a:pt x="373" y="341"/>
                  <a:pt x="373" y="341"/>
                </a:cubicBezTo>
                <a:cubicBezTo>
                  <a:pt x="373" y="347"/>
                  <a:pt x="368" y="352"/>
                  <a:pt x="362" y="352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43" y="352"/>
                  <a:pt x="138" y="347"/>
                  <a:pt x="138" y="341"/>
                </a:cubicBezTo>
                <a:cubicBezTo>
                  <a:pt x="138" y="299"/>
                  <a:pt x="138" y="299"/>
                  <a:pt x="138" y="299"/>
                </a:cubicBezTo>
                <a:cubicBezTo>
                  <a:pt x="138" y="293"/>
                  <a:pt x="143" y="288"/>
                  <a:pt x="149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93"/>
                  <a:pt x="373" y="299"/>
                </a:cubicBezTo>
                <a:close/>
                <a:moveTo>
                  <a:pt x="309" y="320"/>
                </a:moveTo>
                <a:cubicBezTo>
                  <a:pt x="309" y="314"/>
                  <a:pt x="304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ubicBezTo>
                  <a:pt x="288" y="326"/>
                  <a:pt x="292" y="330"/>
                  <a:pt x="298" y="330"/>
                </a:cubicBezTo>
                <a:cubicBezTo>
                  <a:pt x="304" y="330"/>
                  <a:pt x="309" y="326"/>
                  <a:pt x="309" y="320"/>
                </a:cubicBezTo>
                <a:close/>
                <a:moveTo>
                  <a:pt x="352" y="320"/>
                </a:moveTo>
                <a:cubicBezTo>
                  <a:pt x="352" y="314"/>
                  <a:pt x="347" y="309"/>
                  <a:pt x="341" y="309"/>
                </a:cubicBezTo>
                <a:cubicBezTo>
                  <a:pt x="335" y="309"/>
                  <a:pt x="330" y="314"/>
                  <a:pt x="330" y="320"/>
                </a:cubicBezTo>
                <a:cubicBezTo>
                  <a:pt x="330" y="326"/>
                  <a:pt x="335" y="330"/>
                  <a:pt x="341" y="330"/>
                </a:cubicBezTo>
                <a:cubicBezTo>
                  <a:pt x="347" y="330"/>
                  <a:pt x="352" y="326"/>
                  <a:pt x="352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4" y="277"/>
                </a:moveTo>
                <a:cubicBezTo>
                  <a:pt x="394" y="276"/>
                  <a:pt x="394" y="275"/>
                  <a:pt x="394" y="274"/>
                </a:cubicBezTo>
                <a:cubicBezTo>
                  <a:pt x="351" y="146"/>
                  <a:pt x="351" y="146"/>
                  <a:pt x="351" y="146"/>
                </a:cubicBezTo>
                <a:cubicBezTo>
                  <a:pt x="351" y="145"/>
                  <a:pt x="351" y="145"/>
                  <a:pt x="351" y="145"/>
                </a:cubicBezTo>
                <a:cubicBezTo>
                  <a:pt x="349" y="141"/>
                  <a:pt x="346" y="138"/>
                  <a:pt x="341" y="138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66" y="138"/>
                  <a:pt x="162" y="141"/>
                  <a:pt x="160" y="145"/>
                </a:cubicBezTo>
                <a:cubicBezTo>
                  <a:pt x="160" y="145"/>
                  <a:pt x="160" y="145"/>
                  <a:pt x="160" y="146"/>
                </a:cubicBezTo>
                <a:cubicBezTo>
                  <a:pt x="118" y="274"/>
                  <a:pt x="118" y="274"/>
                  <a:pt x="118" y="274"/>
                </a:cubicBezTo>
                <a:cubicBezTo>
                  <a:pt x="117" y="275"/>
                  <a:pt x="117" y="276"/>
                  <a:pt x="117" y="277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8"/>
                </a:cubicBezTo>
                <a:cubicBezTo>
                  <a:pt x="117" y="298"/>
                  <a:pt x="117" y="298"/>
                  <a:pt x="117" y="299"/>
                </a:cubicBezTo>
                <a:cubicBezTo>
                  <a:pt x="117" y="341"/>
                  <a:pt x="117" y="341"/>
                  <a:pt x="117" y="341"/>
                </a:cubicBezTo>
                <a:cubicBezTo>
                  <a:pt x="117" y="359"/>
                  <a:pt x="131" y="373"/>
                  <a:pt x="149" y="373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380" y="373"/>
                  <a:pt x="394" y="359"/>
                  <a:pt x="394" y="341"/>
                </a:cubicBezTo>
                <a:cubicBezTo>
                  <a:pt x="394" y="299"/>
                  <a:pt x="394" y="299"/>
                  <a:pt x="394" y="299"/>
                </a:cubicBezTo>
                <a:cubicBezTo>
                  <a:pt x="394" y="298"/>
                  <a:pt x="394" y="298"/>
                  <a:pt x="394" y="298"/>
                </a:cubicBezTo>
                <a:cubicBezTo>
                  <a:pt x="394" y="298"/>
                  <a:pt x="394" y="298"/>
                  <a:pt x="394" y="298"/>
                </a:cubicBezTo>
                <a:lnTo>
                  <a:pt x="394" y="277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C7102B5-FC4A-4763-B65C-135691D0B434}"/>
              </a:ext>
            </a:extLst>
          </p:cNvPr>
          <p:cNvSpPr/>
          <p:nvPr/>
        </p:nvSpPr>
        <p:spPr>
          <a:xfrm>
            <a:off x="6836962" y="2779563"/>
            <a:ext cx="495240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 dirty="0">
                <a:latin typeface="Arial"/>
                <a:ea typeface="Open Sans" panose="020B0606030504020204" pitchFamily="34" charset="0"/>
                <a:cs typeface="Arial"/>
              </a:rPr>
              <a:t>Data Sensitivity </a:t>
            </a:r>
            <a:r>
              <a:rPr lang="en-AU" sz="1100" dirty="0">
                <a:latin typeface="Arial"/>
                <a:ea typeface="Open Sans" panose="020B0606030504020204" pitchFamily="34" charset="0"/>
                <a:cs typeface="Arial"/>
              </a:rPr>
              <a:t>– In the Cloud, extremely sensitive information can prove</a:t>
            </a:r>
          </a:p>
          <a:p>
            <a:pPr>
              <a:spcAft>
                <a:spcPts val="600"/>
              </a:spcAft>
              <a:buSzPct val="100000"/>
              <a:defRPr/>
            </a:pPr>
            <a:r>
              <a:rPr lang="en-AU" sz="1100" dirty="0">
                <a:latin typeface="Arial"/>
                <a:ea typeface="Open Sans" panose="020B0606030504020204" pitchFamily="34" charset="0"/>
                <a:cs typeface="Arial"/>
              </a:rPr>
              <a:t> to be an inhibitor as the exact location of data may or may not be known</a:t>
            </a:r>
          </a:p>
        </p:txBody>
      </p:sp>
      <p:sp>
        <p:nvSpPr>
          <p:cNvPr id="56" name="Freeform 404">
            <a:extLst>
              <a:ext uri="{FF2B5EF4-FFF2-40B4-BE49-F238E27FC236}">
                <a16:creationId xmlns:a16="http://schemas.microsoft.com/office/drawing/2014/main" id="{53F9789B-4B0D-46A2-A30C-F205A77834C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43828" y="2765215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5 w 512"/>
              <a:gd name="T11" fmla="*/ 370 h 512"/>
              <a:gd name="T12" fmla="*/ 263 w 512"/>
              <a:gd name="T13" fmla="*/ 402 h 512"/>
              <a:gd name="T14" fmla="*/ 260 w 512"/>
              <a:gd name="T15" fmla="*/ 404 h 512"/>
              <a:gd name="T16" fmla="*/ 256 w 512"/>
              <a:gd name="T17" fmla="*/ 405 h 512"/>
              <a:gd name="T18" fmla="*/ 252 w 512"/>
              <a:gd name="T19" fmla="*/ 404 h 512"/>
              <a:gd name="T20" fmla="*/ 248 w 512"/>
              <a:gd name="T21" fmla="*/ 402 h 512"/>
              <a:gd name="T22" fmla="*/ 216 w 512"/>
              <a:gd name="T23" fmla="*/ 370 h 512"/>
              <a:gd name="T24" fmla="*/ 216 w 512"/>
              <a:gd name="T25" fmla="*/ 355 h 512"/>
              <a:gd name="T26" fmla="*/ 231 w 512"/>
              <a:gd name="T27" fmla="*/ 355 h 512"/>
              <a:gd name="T28" fmla="*/ 245 w 512"/>
              <a:gd name="T29" fmla="*/ 369 h 512"/>
              <a:gd name="T30" fmla="*/ 245 w 512"/>
              <a:gd name="T31" fmla="*/ 245 h 512"/>
              <a:gd name="T32" fmla="*/ 256 w 512"/>
              <a:gd name="T33" fmla="*/ 234 h 512"/>
              <a:gd name="T34" fmla="*/ 266 w 512"/>
              <a:gd name="T35" fmla="*/ 245 h 512"/>
              <a:gd name="T36" fmla="*/ 266 w 512"/>
              <a:gd name="T37" fmla="*/ 369 h 512"/>
              <a:gd name="T38" fmla="*/ 280 w 512"/>
              <a:gd name="T39" fmla="*/ 355 h 512"/>
              <a:gd name="T40" fmla="*/ 295 w 512"/>
              <a:gd name="T41" fmla="*/ 355 h 512"/>
              <a:gd name="T42" fmla="*/ 295 w 512"/>
              <a:gd name="T43" fmla="*/ 370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370"/>
                </a:moveTo>
                <a:cubicBezTo>
                  <a:pt x="263" y="402"/>
                  <a:pt x="263" y="402"/>
                  <a:pt x="263" y="402"/>
                </a:cubicBezTo>
                <a:cubicBezTo>
                  <a:pt x="262" y="403"/>
                  <a:pt x="261" y="404"/>
                  <a:pt x="260" y="404"/>
                </a:cubicBezTo>
                <a:cubicBezTo>
                  <a:pt x="258" y="405"/>
                  <a:pt x="257" y="405"/>
                  <a:pt x="256" y="405"/>
                </a:cubicBezTo>
                <a:cubicBezTo>
                  <a:pt x="254" y="405"/>
                  <a:pt x="253" y="405"/>
                  <a:pt x="252" y="404"/>
                </a:cubicBezTo>
                <a:cubicBezTo>
                  <a:pt x="250" y="404"/>
                  <a:pt x="249" y="403"/>
                  <a:pt x="248" y="402"/>
                </a:cubicBezTo>
                <a:cubicBezTo>
                  <a:pt x="216" y="370"/>
                  <a:pt x="216" y="370"/>
                  <a:pt x="216" y="370"/>
                </a:cubicBezTo>
                <a:cubicBezTo>
                  <a:pt x="212" y="366"/>
                  <a:pt x="212" y="359"/>
                  <a:pt x="216" y="355"/>
                </a:cubicBezTo>
                <a:cubicBezTo>
                  <a:pt x="220" y="351"/>
                  <a:pt x="227" y="351"/>
                  <a:pt x="231" y="355"/>
                </a:cubicBezTo>
                <a:cubicBezTo>
                  <a:pt x="245" y="369"/>
                  <a:pt x="245" y="369"/>
                  <a:pt x="245" y="369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369"/>
                  <a:pt x="266" y="369"/>
                  <a:pt x="266" y="369"/>
                </a:cubicBezTo>
                <a:cubicBezTo>
                  <a:pt x="280" y="355"/>
                  <a:pt x="280" y="355"/>
                  <a:pt x="280" y="355"/>
                </a:cubicBezTo>
                <a:cubicBezTo>
                  <a:pt x="284" y="351"/>
                  <a:pt x="291" y="351"/>
                  <a:pt x="295" y="355"/>
                </a:cubicBezTo>
                <a:cubicBezTo>
                  <a:pt x="299" y="359"/>
                  <a:pt x="299" y="366"/>
                  <a:pt x="295" y="370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rgbClr val="F2130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58" name="Freeform 97">
            <a:extLst>
              <a:ext uri="{FF2B5EF4-FFF2-40B4-BE49-F238E27FC236}">
                <a16:creationId xmlns:a16="http://schemas.microsoft.com/office/drawing/2014/main" id="{51886278-57F0-457A-8671-ECBB8EDC84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9605" y="5069628"/>
            <a:ext cx="369021" cy="369021"/>
          </a:xfrm>
          <a:custGeom>
            <a:avLst/>
            <a:gdLst>
              <a:gd name="T0" fmla="*/ 298 w 512"/>
              <a:gd name="T1" fmla="*/ 298 h 512"/>
              <a:gd name="T2" fmla="*/ 373 w 512"/>
              <a:gd name="T3" fmla="*/ 298 h 512"/>
              <a:gd name="T4" fmla="*/ 373 w 512"/>
              <a:gd name="T5" fmla="*/ 373 h 512"/>
              <a:gd name="T6" fmla="*/ 298 w 512"/>
              <a:gd name="T7" fmla="*/ 373 h 512"/>
              <a:gd name="T8" fmla="*/ 298 w 512"/>
              <a:gd name="T9" fmla="*/ 298 h 512"/>
              <a:gd name="T10" fmla="*/ 138 w 512"/>
              <a:gd name="T11" fmla="*/ 213 h 512"/>
              <a:gd name="T12" fmla="*/ 213 w 512"/>
              <a:gd name="T13" fmla="*/ 213 h 512"/>
              <a:gd name="T14" fmla="*/ 213 w 512"/>
              <a:gd name="T15" fmla="*/ 138 h 512"/>
              <a:gd name="T16" fmla="*/ 138 w 512"/>
              <a:gd name="T17" fmla="*/ 138 h 512"/>
              <a:gd name="T18" fmla="*/ 138 w 512"/>
              <a:gd name="T19" fmla="*/ 213 h 512"/>
              <a:gd name="T20" fmla="*/ 138 w 512"/>
              <a:gd name="T21" fmla="*/ 373 h 512"/>
              <a:gd name="T22" fmla="*/ 213 w 512"/>
              <a:gd name="T23" fmla="*/ 373 h 512"/>
              <a:gd name="T24" fmla="*/ 213 w 512"/>
              <a:gd name="T25" fmla="*/ 298 h 512"/>
              <a:gd name="T26" fmla="*/ 138 w 512"/>
              <a:gd name="T27" fmla="*/ 298 h 512"/>
              <a:gd name="T28" fmla="*/ 138 w 512"/>
              <a:gd name="T29" fmla="*/ 37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34 w 512"/>
              <a:gd name="T41" fmla="*/ 288 h 512"/>
              <a:gd name="T42" fmla="*/ 224 w 512"/>
              <a:gd name="T43" fmla="*/ 277 h 512"/>
              <a:gd name="T44" fmla="*/ 128 w 512"/>
              <a:gd name="T45" fmla="*/ 277 h 512"/>
              <a:gd name="T46" fmla="*/ 117 w 512"/>
              <a:gd name="T47" fmla="*/ 288 h 512"/>
              <a:gd name="T48" fmla="*/ 117 w 512"/>
              <a:gd name="T49" fmla="*/ 384 h 512"/>
              <a:gd name="T50" fmla="*/ 128 w 512"/>
              <a:gd name="T51" fmla="*/ 394 h 512"/>
              <a:gd name="T52" fmla="*/ 224 w 512"/>
              <a:gd name="T53" fmla="*/ 394 h 512"/>
              <a:gd name="T54" fmla="*/ 234 w 512"/>
              <a:gd name="T55" fmla="*/ 384 h 512"/>
              <a:gd name="T56" fmla="*/ 234 w 512"/>
              <a:gd name="T57" fmla="*/ 288 h 512"/>
              <a:gd name="T58" fmla="*/ 234 w 512"/>
              <a:gd name="T59" fmla="*/ 128 h 512"/>
              <a:gd name="T60" fmla="*/ 224 w 512"/>
              <a:gd name="T61" fmla="*/ 117 h 512"/>
              <a:gd name="T62" fmla="*/ 128 w 512"/>
              <a:gd name="T63" fmla="*/ 117 h 512"/>
              <a:gd name="T64" fmla="*/ 117 w 512"/>
              <a:gd name="T65" fmla="*/ 128 h 512"/>
              <a:gd name="T66" fmla="*/ 117 w 512"/>
              <a:gd name="T67" fmla="*/ 224 h 512"/>
              <a:gd name="T68" fmla="*/ 128 w 512"/>
              <a:gd name="T69" fmla="*/ 234 h 512"/>
              <a:gd name="T70" fmla="*/ 224 w 512"/>
              <a:gd name="T71" fmla="*/ 234 h 512"/>
              <a:gd name="T72" fmla="*/ 234 w 512"/>
              <a:gd name="T73" fmla="*/ 224 h 512"/>
              <a:gd name="T74" fmla="*/ 234 w 512"/>
              <a:gd name="T75" fmla="*/ 128 h 512"/>
              <a:gd name="T76" fmla="*/ 394 w 512"/>
              <a:gd name="T77" fmla="*/ 288 h 512"/>
              <a:gd name="T78" fmla="*/ 384 w 512"/>
              <a:gd name="T79" fmla="*/ 277 h 512"/>
              <a:gd name="T80" fmla="*/ 288 w 512"/>
              <a:gd name="T81" fmla="*/ 277 h 512"/>
              <a:gd name="T82" fmla="*/ 277 w 512"/>
              <a:gd name="T83" fmla="*/ 288 h 512"/>
              <a:gd name="T84" fmla="*/ 277 w 512"/>
              <a:gd name="T85" fmla="*/ 384 h 512"/>
              <a:gd name="T86" fmla="*/ 288 w 512"/>
              <a:gd name="T87" fmla="*/ 394 h 512"/>
              <a:gd name="T88" fmla="*/ 384 w 512"/>
              <a:gd name="T89" fmla="*/ 394 h 512"/>
              <a:gd name="T90" fmla="*/ 394 w 512"/>
              <a:gd name="T91" fmla="*/ 384 h 512"/>
              <a:gd name="T92" fmla="*/ 394 w 512"/>
              <a:gd name="T93" fmla="*/ 288 h 512"/>
              <a:gd name="T94" fmla="*/ 394 w 512"/>
              <a:gd name="T95" fmla="*/ 128 h 512"/>
              <a:gd name="T96" fmla="*/ 384 w 512"/>
              <a:gd name="T97" fmla="*/ 117 h 512"/>
              <a:gd name="T98" fmla="*/ 288 w 512"/>
              <a:gd name="T99" fmla="*/ 117 h 512"/>
              <a:gd name="T100" fmla="*/ 277 w 512"/>
              <a:gd name="T101" fmla="*/ 128 h 512"/>
              <a:gd name="T102" fmla="*/ 277 w 512"/>
              <a:gd name="T103" fmla="*/ 224 h 512"/>
              <a:gd name="T104" fmla="*/ 288 w 512"/>
              <a:gd name="T105" fmla="*/ 234 h 512"/>
              <a:gd name="T106" fmla="*/ 384 w 512"/>
              <a:gd name="T107" fmla="*/ 234 h 512"/>
              <a:gd name="T108" fmla="*/ 394 w 512"/>
              <a:gd name="T109" fmla="*/ 224 h 512"/>
              <a:gd name="T110" fmla="*/ 394 w 512"/>
              <a:gd name="T111" fmla="*/ 128 h 512"/>
              <a:gd name="T112" fmla="*/ 298 w 512"/>
              <a:gd name="T113" fmla="*/ 213 h 512"/>
              <a:gd name="T114" fmla="*/ 373 w 512"/>
              <a:gd name="T115" fmla="*/ 213 h 512"/>
              <a:gd name="T116" fmla="*/ 373 w 512"/>
              <a:gd name="T117" fmla="*/ 138 h 512"/>
              <a:gd name="T118" fmla="*/ 298 w 512"/>
              <a:gd name="T119" fmla="*/ 138 h 512"/>
              <a:gd name="T120" fmla="*/ 298 w 512"/>
              <a:gd name="T121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373" y="298"/>
                  <a:pt x="373" y="298"/>
                  <a:pt x="373" y="298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298" y="373"/>
                  <a:pt x="298" y="373"/>
                  <a:pt x="298" y="373"/>
                </a:cubicBezTo>
                <a:lnTo>
                  <a:pt x="298" y="298"/>
                </a:lnTo>
                <a:close/>
                <a:moveTo>
                  <a:pt x="138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213"/>
                </a:lnTo>
                <a:close/>
                <a:moveTo>
                  <a:pt x="138" y="373"/>
                </a:moveTo>
                <a:cubicBezTo>
                  <a:pt x="213" y="373"/>
                  <a:pt x="213" y="373"/>
                  <a:pt x="213" y="373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138" y="298"/>
                  <a:pt x="138" y="298"/>
                  <a:pt x="138" y="298"/>
                </a:cubicBezTo>
                <a:lnTo>
                  <a:pt x="138" y="3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4" y="288"/>
                </a:moveTo>
                <a:cubicBezTo>
                  <a:pt x="234" y="282"/>
                  <a:pt x="230" y="277"/>
                  <a:pt x="224" y="277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2" y="277"/>
                  <a:pt x="117" y="282"/>
                  <a:pt x="117" y="28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lnTo>
                  <a:pt x="234" y="288"/>
                </a:lnTo>
                <a:close/>
                <a:moveTo>
                  <a:pt x="234" y="128"/>
                </a:moveTo>
                <a:cubicBezTo>
                  <a:pt x="234" y="122"/>
                  <a:pt x="230" y="117"/>
                  <a:pt x="22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30"/>
                  <a:pt x="122" y="234"/>
                  <a:pt x="128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30" y="234"/>
                  <a:pt x="234" y="230"/>
                  <a:pt x="234" y="224"/>
                </a:cubicBezTo>
                <a:lnTo>
                  <a:pt x="234" y="128"/>
                </a:lnTo>
                <a:close/>
                <a:moveTo>
                  <a:pt x="394" y="288"/>
                </a:moveTo>
                <a:cubicBezTo>
                  <a:pt x="394" y="282"/>
                  <a:pt x="390" y="277"/>
                  <a:pt x="384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2" y="277"/>
                  <a:pt x="277" y="282"/>
                  <a:pt x="277" y="288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88"/>
                </a:ln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22"/>
                  <a:pt x="277" y="128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30"/>
                  <a:pt x="282" y="234"/>
                  <a:pt x="288" y="234"/>
                </a:cubicBezTo>
                <a:cubicBezTo>
                  <a:pt x="384" y="234"/>
                  <a:pt x="384" y="234"/>
                  <a:pt x="384" y="234"/>
                </a:cubicBezTo>
                <a:cubicBezTo>
                  <a:pt x="390" y="234"/>
                  <a:pt x="394" y="230"/>
                  <a:pt x="394" y="224"/>
                </a:cubicBezTo>
                <a:lnTo>
                  <a:pt x="394" y="128"/>
                </a:lnTo>
                <a:close/>
                <a:moveTo>
                  <a:pt x="298" y="213"/>
                </a:moveTo>
                <a:cubicBezTo>
                  <a:pt x="373" y="213"/>
                  <a:pt x="373" y="213"/>
                  <a:pt x="373" y="21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298" y="138"/>
                  <a:pt x="298" y="138"/>
                  <a:pt x="298" y="138"/>
                </a:cubicBezTo>
                <a:lnTo>
                  <a:pt x="298" y="213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59" name="Freeform 97">
            <a:extLst>
              <a:ext uri="{FF2B5EF4-FFF2-40B4-BE49-F238E27FC236}">
                <a16:creationId xmlns:a16="http://schemas.microsoft.com/office/drawing/2014/main" id="{2EE56EC4-8432-4DEF-A883-99FA116B6CC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2842" y="4541405"/>
            <a:ext cx="369021" cy="369021"/>
          </a:xfrm>
          <a:custGeom>
            <a:avLst/>
            <a:gdLst>
              <a:gd name="T0" fmla="*/ 298 w 512"/>
              <a:gd name="T1" fmla="*/ 298 h 512"/>
              <a:gd name="T2" fmla="*/ 373 w 512"/>
              <a:gd name="T3" fmla="*/ 298 h 512"/>
              <a:gd name="T4" fmla="*/ 373 w 512"/>
              <a:gd name="T5" fmla="*/ 373 h 512"/>
              <a:gd name="T6" fmla="*/ 298 w 512"/>
              <a:gd name="T7" fmla="*/ 373 h 512"/>
              <a:gd name="T8" fmla="*/ 298 w 512"/>
              <a:gd name="T9" fmla="*/ 298 h 512"/>
              <a:gd name="T10" fmla="*/ 138 w 512"/>
              <a:gd name="T11" fmla="*/ 213 h 512"/>
              <a:gd name="T12" fmla="*/ 213 w 512"/>
              <a:gd name="T13" fmla="*/ 213 h 512"/>
              <a:gd name="T14" fmla="*/ 213 w 512"/>
              <a:gd name="T15" fmla="*/ 138 h 512"/>
              <a:gd name="T16" fmla="*/ 138 w 512"/>
              <a:gd name="T17" fmla="*/ 138 h 512"/>
              <a:gd name="T18" fmla="*/ 138 w 512"/>
              <a:gd name="T19" fmla="*/ 213 h 512"/>
              <a:gd name="T20" fmla="*/ 138 w 512"/>
              <a:gd name="T21" fmla="*/ 373 h 512"/>
              <a:gd name="T22" fmla="*/ 213 w 512"/>
              <a:gd name="T23" fmla="*/ 373 h 512"/>
              <a:gd name="T24" fmla="*/ 213 w 512"/>
              <a:gd name="T25" fmla="*/ 298 h 512"/>
              <a:gd name="T26" fmla="*/ 138 w 512"/>
              <a:gd name="T27" fmla="*/ 298 h 512"/>
              <a:gd name="T28" fmla="*/ 138 w 512"/>
              <a:gd name="T29" fmla="*/ 37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34 w 512"/>
              <a:gd name="T41" fmla="*/ 288 h 512"/>
              <a:gd name="T42" fmla="*/ 224 w 512"/>
              <a:gd name="T43" fmla="*/ 277 h 512"/>
              <a:gd name="T44" fmla="*/ 128 w 512"/>
              <a:gd name="T45" fmla="*/ 277 h 512"/>
              <a:gd name="T46" fmla="*/ 117 w 512"/>
              <a:gd name="T47" fmla="*/ 288 h 512"/>
              <a:gd name="T48" fmla="*/ 117 w 512"/>
              <a:gd name="T49" fmla="*/ 384 h 512"/>
              <a:gd name="T50" fmla="*/ 128 w 512"/>
              <a:gd name="T51" fmla="*/ 394 h 512"/>
              <a:gd name="T52" fmla="*/ 224 w 512"/>
              <a:gd name="T53" fmla="*/ 394 h 512"/>
              <a:gd name="T54" fmla="*/ 234 w 512"/>
              <a:gd name="T55" fmla="*/ 384 h 512"/>
              <a:gd name="T56" fmla="*/ 234 w 512"/>
              <a:gd name="T57" fmla="*/ 288 h 512"/>
              <a:gd name="T58" fmla="*/ 234 w 512"/>
              <a:gd name="T59" fmla="*/ 128 h 512"/>
              <a:gd name="T60" fmla="*/ 224 w 512"/>
              <a:gd name="T61" fmla="*/ 117 h 512"/>
              <a:gd name="T62" fmla="*/ 128 w 512"/>
              <a:gd name="T63" fmla="*/ 117 h 512"/>
              <a:gd name="T64" fmla="*/ 117 w 512"/>
              <a:gd name="T65" fmla="*/ 128 h 512"/>
              <a:gd name="T66" fmla="*/ 117 w 512"/>
              <a:gd name="T67" fmla="*/ 224 h 512"/>
              <a:gd name="T68" fmla="*/ 128 w 512"/>
              <a:gd name="T69" fmla="*/ 234 h 512"/>
              <a:gd name="T70" fmla="*/ 224 w 512"/>
              <a:gd name="T71" fmla="*/ 234 h 512"/>
              <a:gd name="T72" fmla="*/ 234 w 512"/>
              <a:gd name="T73" fmla="*/ 224 h 512"/>
              <a:gd name="T74" fmla="*/ 234 w 512"/>
              <a:gd name="T75" fmla="*/ 128 h 512"/>
              <a:gd name="T76" fmla="*/ 394 w 512"/>
              <a:gd name="T77" fmla="*/ 288 h 512"/>
              <a:gd name="T78" fmla="*/ 384 w 512"/>
              <a:gd name="T79" fmla="*/ 277 h 512"/>
              <a:gd name="T80" fmla="*/ 288 w 512"/>
              <a:gd name="T81" fmla="*/ 277 h 512"/>
              <a:gd name="T82" fmla="*/ 277 w 512"/>
              <a:gd name="T83" fmla="*/ 288 h 512"/>
              <a:gd name="T84" fmla="*/ 277 w 512"/>
              <a:gd name="T85" fmla="*/ 384 h 512"/>
              <a:gd name="T86" fmla="*/ 288 w 512"/>
              <a:gd name="T87" fmla="*/ 394 h 512"/>
              <a:gd name="T88" fmla="*/ 384 w 512"/>
              <a:gd name="T89" fmla="*/ 394 h 512"/>
              <a:gd name="T90" fmla="*/ 394 w 512"/>
              <a:gd name="T91" fmla="*/ 384 h 512"/>
              <a:gd name="T92" fmla="*/ 394 w 512"/>
              <a:gd name="T93" fmla="*/ 288 h 512"/>
              <a:gd name="T94" fmla="*/ 394 w 512"/>
              <a:gd name="T95" fmla="*/ 128 h 512"/>
              <a:gd name="T96" fmla="*/ 384 w 512"/>
              <a:gd name="T97" fmla="*/ 117 h 512"/>
              <a:gd name="T98" fmla="*/ 288 w 512"/>
              <a:gd name="T99" fmla="*/ 117 h 512"/>
              <a:gd name="T100" fmla="*/ 277 w 512"/>
              <a:gd name="T101" fmla="*/ 128 h 512"/>
              <a:gd name="T102" fmla="*/ 277 w 512"/>
              <a:gd name="T103" fmla="*/ 224 h 512"/>
              <a:gd name="T104" fmla="*/ 288 w 512"/>
              <a:gd name="T105" fmla="*/ 234 h 512"/>
              <a:gd name="T106" fmla="*/ 384 w 512"/>
              <a:gd name="T107" fmla="*/ 234 h 512"/>
              <a:gd name="T108" fmla="*/ 394 w 512"/>
              <a:gd name="T109" fmla="*/ 224 h 512"/>
              <a:gd name="T110" fmla="*/ 394 w 512"/>
              <a:gd name="T111" fmla="*/ 128 h 512"/>
              <a:gd name="T112" fmla="*/ 298 w 512"/>
              <a:gd name="T113" fmla="*/ 213 h 512"/>
              <a:gd name="T114" fmla="*/ 373 w 512"/>
              <a:gd name="T115" fmla="*/ 213 h 512"/>
              <a:gd name="T116" fmla="*/ 373 w 512"/>
              <a:gd name="T117" fmla="*/ 138 h 512"/>
              <a:gd name="T118" fmla="*/ 298 w 512"/>
              <a:gd name="T119" fmla="*/ 138 h 512"/>
              <a:gd name="T120" fmla="*/ 298 w 512"/>
              <a:gd name="T121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512">
                <a:moveTo>
                  <a:pt x="298" y="298"/>
                </a:moveTo>
                <a:cubicBezTo>
                  <a:pt x="373" y="298"/>
                  <a:pt x="373" y="298"/>
                  <a:pt x="373" y="298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298" y="373"/>
                  <a:pt x="298" y="373"/>
                  <a:pt x="298" y="373"/>
                </a:cubicBezTo>
                <a:lnTo>
                  <a:pt x="298" y="298"/>
                </a:lnTo>
                <a:close/>
                <a:moveTo>
                  <a:pt x="138" y="213"/>
                </a:moveTo>
                <a:cubicBezTo>
                  <a:pt x="213" y="213"/>
                  <a:pt x="213" y="213"/>
                  <a:pt x="213" y="213"/>
                </a:cubicBezTo>
                <a:cubicBezTo>
                  <a:pt x="213" y="138"/>
                  <a:pt x="213" y="138"/>
                  <a:pt x="213" y="138"/>
                </a:cubicBezTo>
                <a:cubicBezTo>
                  <a:pt x="138" y="138"/>
                  <a:pt x="138" y="138"/>
                  <a:pt x="138" y="138"/>
                </a:cubicBezTo>
                <a:lnTo>
                  <a:pt x="138" y="213"/>
                </a:lnTo>
                <a:close/>
                <a:moveTo>
                  <a:pt x="138" y="373"/>
                </a:moveTo>
                <a:cubicBezTo>
                  <a:pt x="213" y="373"/>
                  <a:pt x="213" y="373"/>
                  <a:pt x="213" y="373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138" y="298"/>
                  <a:pt x="138" y="298"/>
                  <a:pt x="138" y="298"/>
                </a:cubicBezTo>
                <a:lnTo>
                  <a:pt x="138" y="373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34" y="288"/>
                </a:moveTo>
                <a:cubicBezTo>
                  <a:pt x="234" y="282"/>
                  <a:pt x="230" y="277"/>
                  <a:pt x="224" y="277"/>
                </a:cubicBezTo>
                <a:cubicBezTo>
                  <a:pt x="128" y="277"/>
                  <a:pt x="128" y="277"/>
                  <a:pt x="128" y="277"/>
                </a:cubicBezTo>
                <a:cubicBezTo>
                  <a:pt x="122" y="277"/>
                  <a:pt x="117" y="282"/>
                  <a:pt x="117" y="288"/>
                </a:cubicBezTo>
                <a:cubicBezTo>
                  <a:pt x="117" y="384"/>
                  <a:pt x="117" y="384"/>
                  <a:pt x="117" y="384"/>
                </a:cubicBezTo>
                <a:cubicBezTo>
                  <a:pt x="117" y="390"/>
                  <a:pt x="122" y="394"/>
                  <a:pt x="128" y="394"/>
                </a:cubicBezTo>
                <a:cubicBezTo>
                  <a:pt x="224" y="394"/>
                  <a:pt x="224" y="394"/>
                  <a:pt x="224" y="394"/>
                </a:cubicBezTo>
                <a:cubicBezTo>
                  <a:pt x="230" y="394"/>
                  <a:pt x="234" y="390"/>
                  <a:pt x="234" y="384"/>
                </a:cubicBezTo>
                <a:lnTo>
                  <a:pt x="234" y="288"/>
                </a:lnTo>
                <a:close/>
                <a:moveTo>
                  <a:pt x="234" y="128"/>
                </a:moveTo>
                <a:cubicBezTo>
                  <a:pt x="234" y="122"/>
                  <a:pt x="230" y="117"/>
                  <a:pt x="224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2" y="117"/>
                  <a:pt x="117" y="122"/>
                  <a:pt x="117" y="128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30"/>
                  <a:pt x="122" y="234"/>
                  <a:pt x="128" y="234"/>
                </a:cubicBezTo>
                <a:cubicBezTo>
                  <a:pt x="224" y="234"/>
                  <a:pt x="224" y="234"/>
                  <a:pt x="224" y="234"/>
                </a:cubicBezTo>
                <a:cubicBezTo>
                  <a:pt x="230" y="234"/>
                  <a:pt x="234" y="230"/>
                  <a:pt x="234" y="224"/>
                </a:cubicBezTo>
                <a:lnTo>
                  <a:pt x="234" y="128"/>
                </a:lnTo>
                <a:close/>
                <a:moveTo>
                  <a:pt x="394" y="288"/>
                </a:moveTo>
                <a:cubicBezTo>
                  <a:pt x="394" y="282"/>
                  <a:pt x="390" y="277"/>
                  <a:pt x="384" y="277"/>
                </a:cubicBezTo>
                <a:cubicBezTo>
                  <a:pt x="288" y="277"/>
                  <a:pt x="288" y="277"/>
                  <a:pt x="288" y="277"/>
                </a:cubicBezTo>
                <a:cubicBezTo>
                  <a:pt x="282" y="277"/>
                  <a:pt x="277" y="282"/>
                  <a:pt x="277" y="288"/>
                </a:cubicBezTo>
                <a:cubicBezTo>
                  <a:pt x="277" y="384"/>
                  <a:pt x="277" y="384"/>
                  <a:pt x="277" y="384"/>
                </a:cubicBezTo>
                <a:cubicBezTo>
                  <a:pt x="277" y="390"/>
                  <a:pt x="282" y="394"/>
                  <a:pt x="288" y="394"/>
                </a:cubicBezTo>
                <a:cubicBezTo>
                  <a:pt x="384" y="394"/>
                  <a:pt x="384" y="394"/>
                  <a:pt x="384" y="394"/>
                </a:cubicBezTo>
                <a:cubicBezTo>
                  <a:pt x="390" y="394"/>
                  <a:pt x="394" y="390"/>
                  <a:pt x="394" y="384"/>
                </a:cubicBezTo>
                <a:lnTo>
                  <a:pt x="394" y="288"/>
                </a:lnTo>
                <a:close/>
                <a:moveTo>
                  <a:pt x="394" y="128"/>
                </a:moveTo>
                <a:cubicBezTo>
                  <a:pt x="394" y="122"/>
                  <a:pt x="390" y="117"/>
                  <a:pt x="384" y="117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2" y="117"/>
                  <a:pt x="277" y="122"/>
                  <a:pt x="277" y="128"/>
                </a:cubicBezTo>
                <a:cubicBezTo>
                  <a:pt x="277" y="224"/>
                  <a:pt x="277" y="224"/>
                  <a:pt x="277" y="224"/>
                </a:cubicBezTo>
                <a:cubicBezTo>
                  <a:pt x="277" y="230"/>
                  <a:pt x="282" y="234"/>
                  <a:pt x="288" y="234"/>
                </a:cubicBezTo>
                <a:cubicBezTo>
                  <a:pt x="384" y="234"/>
                  <a:pt x="384" y="234"/>
                  <a:pt x="384" y="234"/>
                </a:cubicBezTo>
                <a:cubicBezTo>
                  <a:pt x="390" y="234"/>
                  <a:pt x="394" y="230"/>
                  <a:pt x="394" y="224"/>
                </a:cubicBezTo>
                <a:lnTo>
                  <a:pt x="394" y="128"/>
                </a:lnTo>
                <a:close/>
                <a:moveTo>
                  <a:pt x="298" y="213"/>
                </a:moveTo>
                <a:cubicBezTo>
                  <a:pt x="373" y="213"/>
                  <a:pt x="373" y="213"/>
                  <a:pt x="373" y="213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298" y="138"/>
                  <a:pt x="298" y="138"/>
                  <a:pt x="298" y="138"/>
                </a:cubicBezTo>
                <a:lnTo>
                  <a:pt x="298" y="213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53848D0-4A98-4A26-A81E-477C7F4FC970}"/>
              </a:ext>
            </a:extLst>
          </p:cNvPr>
          <p:cNvSpPr/>
          <p:nvPr/>
        </p:nvSpPr>
        <p:spPr>
          <a:xfrm>
            <a:off x="892691" y="4468333"/>
            <a:ext cx="49405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200" b="1" dirty="0">
                <a:latin typeface="Arial"/>
                <a:ea typeface="Open Sans" panose="020B0606030504020204" pitchFamily="34" charset="0"/>
                <a:cs typeface="Arial"/>
              </a:rPr>
              <a:t>SaaS </a:t>
            </a:r>
            <a:r>
              <a:rPr lang="en-AU" sz="1200" dirty="0">
                <a:latin typeface="Arial"/>
                <a:ea typeface="Open Sans" panose="020B0606030504020204" pitchFamily="34" charset="0"/>
                <a:cs typeface="Arial"/>
              </a:rPr>
              <a:t>– Applications with existing SaaS are easier to move to cloud as not change in code is required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731F710-8154-4581-BBF2-CCB7A73E5653}"/>
              </a:ext>
            </a:extLst>
          </p:cNvPr>
          <p:cNvSpPr/>
          <p:nvPr/>
        </p:nvSpPr>
        <p:spPr>
          <a:xfrm>
            <a:off x="886195" y="5045194"/>
            <a:ext cx="49405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US" sz="1200" b="1" dirty="0"/>
              <a:t>Low Degree of Customization </a:t>
            </a:r>
            <a:r>
              <a:rPr lang="en-US" sz="1200" dirty="0"/>
              <a:t>– Applications with less customization will require less refactoring, or changes to the code base when being moved to Cloud, making them simpler migrations to conduct. </a:t>
            </a:r>
            <a:endParaRPr lang="en-AU" sz="1200" dirty="0"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69" name="Freeform 404">
            <a:extLst>
              <a:ext uri="{FF2B5EF4-FFF2-40B4-BE49-F238E27FC236}">
                <a16:creationId xmlns:a16="http://schemas.microsoft.com/office/drawing/2014/main" id="{7A39946F-D0C8-41C2-9BC1-266A5F3F157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9234" y="3416040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5 w 512"/>
              <a:gd name="T11" fmla="*/ 370 h 512"/>
              <a:gd name="T12" fmla="*/ 263 w 512"/>
              <a:gd name="T13" fmla="*/ 402 h 512"/>
              <a:gd name="T14" fmla="*/ 260 w 512"/>
              <a:gd name="T15" fmla="*/ 404 h 512"/>
              <a:gd name="T16" fmla="*/ 256 w 512"/>
              <a:gd name="T17" fmla="*/ 405 h 512"/>
              <a:gd name="T18" fmla="*/ 252 w 512"/>
              <a:gd name="T19" fmla="*/ 404 h 512"/>
              <a:gd name="T20" fmla="*/ 248 w 512"/>
              <a:gd name="T21" fmla="*/ 402 h 512"/>
              <a:gd name="T22" fmla="*/ 216 w 512"/>
              <a:gd name="T23" fmla="*/ 370 h 512"/>
              <a:gd name="T24" fmla="*/ 216 w 512"/>
              <a:gd name="T25" fmla="*/ 355 h 512"/>
              <a:gd name="T26" fmla="*/ 231 w 512"/>
              <a:gd name="T27" fmla="*/ 355 h 512"/>
              <a:gd name="T28" fmla="*/ 245 w 512"/>
              <a:gd name="T29" fmla="*/ 369 h 512"/>
              <a:gd name="T30" fmla="*/ 245 w 512"/>
              <a:gd name="T31" fmla="*/ 245 h 512"/>
              <a:gd name="T32" fmla="*/ 256 w 512"/>
              <a:gd name="T33" fmla="*/ 234 h 512"/>
              <a:gd name="T34" fmla="*/ 266 w 512"/>
              <a:gd name="T35" fmla="*/ 245 h 512"/>
              <a:gd name="T36" fmla="*/ 266 w 512"/>
              <a:gd name="T37" fmla="*/ 369 h 512"/>
              <a:gd name="T38" fmla="*/ 280 w 512"/>
              <a:gd name="T39" fmla="*/ 355 h 512"/>
              <a:gd name="T40" fmla="*/ 295 w 512"/>
              <a:gd name="T41" fmla="*/ 355 h 512"/>
              <a:gd name="T42" fmla="*/ 295 w 512"/>
              <a:gd name="T43" fmla="*/ 370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370"/>
                </a:moveTo>
                <a:cubicBezTo>
                  <a:pt x="263" y="402"/>
                  <a:pt x="263" y="402"/>
                  <a:pt x="263" y="402"/>
                </a:cubicBezTo>
                <a:cubicBezTo>
                  <a:pt x="262" y="403"/>
                  <a:pt x="261" y="404"/>
                  <a:pt x="260" y="404"/>
                </a:cubicBezTo>
                <a:cubicBezTo>
                  <a:pt x="258" y="405"/>
                  <a:pt x="257" y="405"/>
                  <a:pt x="256" y="405"/>
                </a:cubicBezTo>
                <a:cubicBezTo>
                  <a:pt x="254" y="405"/>
                  <a:pt x="253" y="405"/>
                  <a:pt x="252" y="404"/>
                </a:cubicBezTo>
                <a:cubicBezTo>
                  <a:pt x="250" y="404"/>
                  <a:pt x="249" y="403"/>
                  <a:pt x="248" y="402"/>
                </a:cubicBezTo>
                <a:cubicBezTo>
                  <a:pt x="216" y="370"/>
                  <a:pt x="216" y="370"/>
                  <a:pt x="216" y="370"/>
                </a:cubicBezTo>
                <a:cubicBezTo>
                  <a:pt x="212" y="366"/>
                  <a:pt x="212" y="359"/>
                  <a:pt x="216" y="355"/>
                </a:cubicBezTo>
                <a:cubicBezTo>
                  <a:pt x="220" y="351"/>
                  <a:pt x="227" y="351"/>
                  <a:pt x="231" y="355"/>
                </a:cubicBezTo>
                <a:cubicBezTo>
                  <a:pt x="245" y="369"/>
                  <a:pt x="245" y="369"/>
                  <a:pt x="245" y="369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369"/>
                  <a:pt x="266" y="369"/>
                  <a:pt x="266" y="369"/>
                </a:cubicBezTo>
                <a:cubicBezTo>
                  <a:pt x="280" y="355"/>
                  <a:pt x="280" y="355"/>
                  <a:pt x="280" y="355"/>
                </a:cubicBezTo>
                <a:cubicBezTo>
                  <a:pt x="284" y="351"/>
                  <a:pt x="291" y="351"/>
                  <a:pt x="295" y="355"/>
                </a:cubicBezTo>
                <a:cubicBezTo>
                  <a:pt x="299" y="359"/>
                  <a:pt x="299" y="366"/>
                  <a:pt x="295" y="370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rgbClr val="F2130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2" name="Freeform 404">
            <a:extLst>
              <a:ext uri="{FF2B5EF4-FFF2-40B4-BE49-F238E27FC236}">
                <a16:creationId xmlns:a16="http://schemas.microsoft.com/office/drawing/2014/main" id="{A2F65AC6-7B85-4122-B6CD-91FA81D70FB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61353" y="4067628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5 w 512"/>
              <a:gd name="T11" fmla="*/ 370 h 512"/>
              <a:gd name="T12" fmla="*/ 263 w 512"/>
              <a:gd name="T13" fmla="*/ 402 h 512"/>
              <a:gd name="T14" fmla="*/ 260 w 512"/>
              <a:gd name="T15" fmla="*/ 404 h 512"/>
              <a:gd name="T16" fmla="*/ 256 w 512"/>
              <a:gd name="T17" fmla="*/ 405 h 512"/>
              <a:gd name="T18" fmla="*/ 252 w 512"/>
              <a:gd name="T19" fmla="*/ 404 h 512"/>
              <a:gd name="T20" fmla="*/ 248 w 512"/>
              <a:gd name="T21" fmla="*/ 402 h 512"/>
              <a:gd name="T22" fmla="*/ 216 w 512"/>
              <a:gd name="T23" fmla="*/ 370 h 512"/>
              <a:gd name="T24" fmla="*/ 216 w 512"/>
              <a:gd name="T25" fmla="*/ 355 h 512"/>
              <a:gd name="T26" fmla="*/ 231 w 512"/>
              <a:gd name="T27" fmla="*/ 355 h 512"/>
              <a:gd name="T28" fmla="*/ 245 w 512"/>
              <a:gd name="T29" fmla="*/ 369 h 512"/>
              <a:gd name="T30" fmla="*/ 245 w 512"/>
              <a:gd name="T31" fmla="*/ 245 h 512"/>
              <a:gd name="T32" fmla="*/ 256 w 512"/>
              <a:gd name="T33" fmla="*/ 234 h 512"/>
              <a:gd name="T34" fmla="*/ 266 w 512"/>
              <a:gd name="T35" fmla="*/ 245 h 512"/>
              <a:gd name="T36" fmla="*/ 266 w 512"/>
              <a:gd name="T37" fmla="*/ 369 h 512"/>
              <a:gd name="T38" fmla="*/ 280 w 512"/>
              <a:gd name="T39" fmla="*/ 355 h 512"/>
              <a:gd name="T40" fmla="*/ 295 w 512"/>
              <a:gd name="T41" fmla="*/ 355 h 512"/>
              <a:gd name="T42" fmla="*/ 295 w 512"/>
              <a:gd name="T43" fmla="*/ 370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370"/>
                </a:moveTo>
                <a:cubicBezTo>
                  <a:pt x="263" y="402"/>
                  <a:pt x="263" y="402"/>
                  <a:pt x="263" y="402"/>
                </a:cubicBezTo>
                <a:cubicBezTo>
                  <a:pt x="262" y="403"/>
                  <a:pt x="261" y="404"/>
                  <a:pt x="260" y="404"/>
                </a:cubicBezTo>
                <a:cubicBezTo>
                  <a:pt x="258" y="405"/>
                  <a:pt x="257" y="405"/>
                  <a:pt x="256" y="405"/>
                </a:cubicBezTo>
                <a:cubicBezTo>
                  <a:pt x="254" y="405"/>
                  <a:pt x="253" y="405"/>
                  <a:pt x="252" y="404"/>
                </a:cubicBezTo>
                <a:cubicBezTo>
                  <a:pt x="250" y="404"/>
                  <a:pt x="249" y="403"/>
                  <a:pt x="248" y="402"/>
                </a:cubicBezTo>
                <a:cubicBezTo>
                  <a:pt x="216" y="370"/>
                  <a:pt x="216" y="370"/>
                  <a:pt x="216" y="370"/>
                </a:cubicBezTo>
                <a:cubicBezTo>
                  <a:pt x="212" y="366"/>
                  <a:pt x="212" y="359"/>
                  <a:pt x="216" y="355"/>
                </a:cubicBezTo>
                <a:cubicBezTo>
                  <a:pt x="220" y="351"/>
                  <a:pt x="227" y="351"/>
                  <a:pt x="231" y="355"/>
                </a:cubicBezTo>
                <a:cubicBezTo>
                  <a:pt x="245" y="369"/>
                  <a:pt x="245" y="369"/>
                  <a:pt x="245" y="369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369"/>
                  <a:pt x="266" y="369"/>
                  <a:pt x="266" y="369"/>
                </a:cubicBezTo>
                <a:cubicBezTo>
                  <a:pt x="280" y="355"/>
                  <a:pt x="280" y="355"/>
                  <a:pt x="280" y="355"/>
                </a:cubicBezTo>
                <a:cubicBezTo>
                  <a:pt x="284" y="351"/>
                  <a:pt x="291" y="351"/>
                  <a:pt x="295" y="355"/>
                </a:cubicBezTo>
                <a:cubicBezTo>
                  <a:pt x="299" y="359"/>
                  <a:pt x="299" y="366"/>
                  <a:pt x="295" y="370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rgbClr val="F2130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3" name="Freeform 404">
            <a:extLst>
              <a:ext uri="{FF2B5EF4-FFF2-40B4-BE49-F238E27FC236}">
                <a16:creationId xmlns:a16="http://schemas.microsoft.com/office/drawing/2014/main" id="{4B83022D-11A7-400D-B580-04CB1E933D6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61352" y="4685043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95 w 512"/>
              <a:gd name="T11" fmla="*/ 370 h 512"/>
              <a:gd name="T12" fmla="*/ 263 w 512"/>
              <a:gd name="T13" fmla="*/ 402 h 512"/>
              <a:gd name="T14" fmla="*/ 260 w 512"/>
              <a:gd name="T15" fmla="*/ 404 h 512"/>
              <a:gd name="T16" fmla="*/ 256 w 512"/>
              <a:gd name="T17" fmla="*/ 405 h 512"/>
              <a:gd name="T18" fmla="*/ 252 w 512"/>
              <a:gd name="T19" fmla="*/ 404 h 512"/>
              <a:gd name="T20" fmla="*/ 248 w 512"/>
              <a:gd name="T21" fmla="*/ 402 h 512"/>
              <a:gd name="T22" fmla="*/ 216 w 512"/>
              <a:gd name="T23" fmla="*/ 370 h 512"/>
              <a:gd name="T24" fmla="*/ 216 w 512"/>
              <a:gd name="T25" fmla="*/ 355 h 512"/>
              <a:gd name="T26" fmla="*/ 231 w 512"/>
              <a:gd name="T27" fmla="*/ 355 h 512"/>
              <a:gd name="T28" fmla="*/ 245 w 512"/>
              <a:gd name="T29" fmla="*/ 369 h 512"/>
              <a:gd name="T30" fmla="*/ 245 w 512"/>
              <a:gd name="T31" fmla="*/ 245 h 512"/>
              <a:gd name="T32" fmla="*/ 256 w 512"/>
              <a:gd name="T33" fmla="*/ 234 h 512"/>
              <a:gd name="T34" fmla="*/ 266 w 512"/>
              <a:gd name="T35" fmla="*/ 245 h 512"/>
              <a:gd name="T36" fmla="*/ 266 w 512"/>
              <a:gd name="T37" fmla="*/ 369 h 512"/>
              <a:gd name="T38" fmla="*/ 280 w 512"/>
              <a:gd name="T39" fmla="*/ 355 h 512"/>
              <a:gd name="T40" fmla="*/ 295 w 512"/>
              <a:gd name="T41" fmla="*/ 355 h 512"/>
              <a:gd name="T42" fmla="*/ 295 w 512"/>
              <a:gd name="T43" fmla="*/ 370 h 512"/>
              <a:gd name="T44" fmla="*/ 362 w 512"/>
              <a:gd name="T45" fmla="*/ 320 h 512"/>
              <a:gd name="T46" fmla="*/ 309 w 512"/>
              <a:gd name="T47" fmla="*/ 320 h 512"/>
              <a:gd name="T48" fmla="*/ 298 w 512"/>
              <a:gd name="T49" fmla="*/ 309 h 512"/>
              <a:gd name="T50" fmla="*/ 309 w 512"/>
              <a:gd name="T51" fmla="*/ 298 h 512"/>
              <a:gd name="T52" fmla="*/ 362 w 512"/>
              <a:gd name="T53" fmla="*/ 298 h 512"/>
              <a:gd name="T54" fmla="*/ 394 w 512"/>
              <a:gd name="T55" fmla="*/ 266 h 512"/>
              <a:gd name="T56" fmla="*/ 362 w 512"/>
              <a:gd name="T57" fmla="*/ 234 h 512"/>
              <a:gd name="T58" fmla="*/ 351 w 512"/>
              <a:gd name="T59" fmla="*/ 238 h 512"/>
              <a:gd name="T60" fmla="*/ 339 w 512"/>
              <a:gd name="T61" fmla="*/ 237 h 512"/>
              <a:gd name="T62" fmla="*/ 335 w 512"/>
              <a:gd name="T63" fmla="*/ 227 h 512"/>
              <a:gd name="T64" fmla="*/ 336 w 512"/>
              <a:gd name="T65" fmla="*/ 222 h 512"/>
              <a:gd name="T66" fmla="*/ 337 w 512"/>
              <a:gd name="T67" fmla="*/ 214 h 512"/>
              <a:gd name="T68" fmla="*/ 272 w 512"/>
              <a:gd name="T69" fmla="*/ 149 h 512"/>
              <a:gd name="T70" fmla="*/ 207 w 512"/>
              <a:gd name="T71" fmla="*/ 201 h 512"/>
              <a:gd name="T72" fmla="*/ 201 w 512"/>
              <a:gd name="T73" fmla="*/ 208 h 512"/>
              <a:gd name="T74" fmla="*/ 191 w 512"/>
              <a:gd name="T75" fmla="*/ 207 h 512"/>
              <a:gd name="T76" fmla="*/ 167 w 512"/>
              <a:gd name="T77" fmla="*/ 199 h 512"/>
              <a:gd name="T78" fmla="*/ 117 w 512"/>
              <a:gd name="T79" fmla="*/ 249 h 512"/>
              <a:gd name="T80" fmla="*/ 167 w 512"/>
              <a:gd name="T81" fmla="*/ 298 h 512"/>
              <a:gd name="T82" fmla="*/ 202 w 512"/>
              <a:gd name="T83" fmla="*/ 298 h 512"/>
              <a:gd name="T84" fmla="*/ 213 w 512"/>
              <a:gd name="T85" fmla="*/ 309 h 512"/>
              <a:gd name="T86" fmla="*/ 202 w 512"/>
              <a:gd name="T87" fmla="*/ 320 h 512"/>
              <a:gd name="T88" fmla="*/ 167 w 512"/>
              <a:gd name="T89" fmla="*/ 320 h 512"/>
              <a:gd name="T90" fmla="*/ 96 w 512"/>
              <a:gd name="T91" fmla="*/ 249 h 512"/>
              <a:gd name="T92" fmla="*/ 167 w 512"/>
              <a:gd name="T93" fmla="*/ 178 h 512"/>
              <a:gd name="T94" fmla="*/ 190 w 512"/>
              <a:gd name="T95" fmla="*/ 183 h 512"/>
              <a:gd name="T96" fmla="*/ 272 w 512"/>
              <a:gd name="T97" fmla="*/ 128 h 512"/>
              <a:gd name="T98" fmla="*/ 358 w 512"/>
              <a:gd name="T99" fmla="*/ 213 h 512"/>
              <a:gd name="T100" fmla="*/ 362 w 512"/>
              <a:gd name="T101" fmla="*/ 213 h 512"/>
              <a:gd name="T102" fmla="*/ 416 w 512"/>
              <a:gd name="T103" fmla="*/ 266 h 512"/>
              <a:gd name="T104" fmla="*/ 362 w 512"/>
              <a:gd name="T105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5" y="370"/>
                </a:moveTo>
                <a:cubicBezTo>
                  <a:pt x="263" y="402"/>
                  <a:pt x="263" y="402"/>
                  <a:pt x="263" y="402"/>
                </a:cubicBezTo>
                <a:cubicBezTo>
                  <a:pt x="262" y="403"/>
                  <a:pt x="261" y="404"/>
                  <a:pt x="260" y="404"/>
                </a:cubicBezTo>
                <a:cubicBezTo>
                  <a:pt x="258" y="405"/>
                  <a:pt x="257" y="405"/>
                  <a:pt x="256" y="405"/>
                </a:cubicBezTo>
                <a:cubicBezTo>
                  <a:pt x="254" y="405"/>
                  <a:pt x="253" y="405"/>
                  <a:pt x="252" y="404"/>
                </a:cubicBezTo>
                <a:cubicBezTo>
                  <a:pt x="250" y="404"/>
                  <a:pt x="249" y="403"/>
                  <a:pt x="248" y="402"/>
                </a:cubicBezTo>
                <a:cubicBezTo>
                  <a:pt x="216" y="370"/>
                  <a:pt x="216" y="370"/>
                  <a:pt x="216" y="370"/>
                </a:cubicBezTo>
                <a:cubicBezTo>
                  <a:pt x="212" y="366"/>
                  <a:pt x="212" y="359"/>
                  <a:pt x="216" y="355"/>
                </a:cubicBezTo>
                <a:cubicBezTo>
                  <a:pt x="220" y="351"/>
                  <a:pt x="227" y="351"/>
                  <a:pt x="231" y="355"/>
                </a:cubicBezTo>
                <a:cubicBezTo>
                  <a:pt x="245" y="369"/>
                  <a:pt x="245" y="369"/>
                  <a:pt x="245" y="369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ubicBezTo>
                  <a:pt x="262" y="234"/>
                  <a:pt x="266" y="239"/>
                  <a:pt x="266" y="245"/>
                </a:cubicBezTo>
                <a:cubicBezTo>
                  <a:pt x="266" y="369"/>
                  <a:pt x="266" y="369"/>
                  <a:pt x="266" y="369"/>
                </a:cubicBezTo>
                <a:cubicBezTo>
                  <a:pt x="280" y="355"/>
                  <a:pt x="280" y="355"/>
                  <a:pt x="280" y="355"/>
                </a:cubicBezTo>
                <a:cubicBezTo>
                  <a:pt x="284" y="351"/>
                  <a:pt x="291" y="351"/>
                  <a:pt x="295" y="355"/>
                </a:cubicBezTo>
                <a:cubicBezTo>
                  <a:pt x="299" y="359"/>
                  <a:pt x="299" y="366"/>
                  <a:pt x="295" y="370"/>
                </a:cubicBezTo>
                <a:close/>
                <a:moveTo>
                  <a:pt x="362" y="320"/>
                </a:moveTo>
                <a:cubicBezTo>
                  <a:pt x="309" y="320"/>
                  <a:pt x="309" y="320"/>
                  <a:pt x="309" y="320"/>
                </a:cubicBezTo>
                <a:cubicBezTo>
                  <a:pt x="303" y="320"/>
                  <a:pt x="298" y="315"/>
                  <a:pt x="298" y="309"/>
                </a:cubicBezTo>
                <a:cubicBezTo>
                  <a:pt x="298" y="303"/>
                  <a:pt x="303" y="298"/>
                  <a:pt x="309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80" y="298"/>
                  <a:pt x="394" y="284"/>
                  <a:pt x="394" y="266"/>
                </a:cubicBezTo>
                <a:cubicBezTo>
                  <a:pt x="394" y="249"/>
                  <a:pt x="380" y="234"/>
                  <a:pt x="362" y="234"/>
                </a:cubicBezTo>
                <a:cubicBezTo>
                  <a:pt x="361" y="234"/>
                  <a:pt x="357" y="235"/>
                  <a:pt x="351" y="238"/>
                </a:cubicBezTo>
                <a:cubicBezTo>
                  <a:pt x="347" y="240"/>
                  <a:pt x="343" y="240"/>
                  <a:pt x="339" y="237"/>
                </a:cubicBezTo>
                <a:cubicBezTo>
                  <a:pt x="336" y="235"/>
                  <a:pt x="334" y="231"/>
                  <a:pt x="335" y="227"/>
                </a:cubicBezTo>
                <a:cubicBezTo>
                  <a:pt x="336" y="225"/>
                  <a:pt x="336" y="224"/>
                  <a:pt x="336" y="222"/>
                </a:cubicBezTo>
                <a:cubicBezTo>
                  <a:pt x="336" y="219"/>
                  <a:pt x="337" y="217"/>
                  <a:pt x="337" y="214"/>
                </a:cubicBezTo>
                <a:cubicBezTo>
                  <a:pt x="337" y="178"/>
                  <a:pt x="308" y="149"/>
                  <a:pt x="272" y="149"/>
                </a:cubicBezTo>
                <a:cubicBezTo>
                  <a:pt x="241" y="149"/>
                  <a:pt x="213" y="171"/>
                  <a:pt x="207" y="201"/>
                </a:cubicBezTo>
                <a:cubicBezTo>
                  <a:pt x="206" y="204"/>
                  <a:pt x="204" y="207"/>
                  <a:pt x="201" y="208"/>
                </a:cubicBezTo>
                <a:cubicBezTo>
                  <a:pt x="197" y="210"/>
                  <a:pt x="194" y="209"/>
                  <a:pt x="191" y="207"/>
                </a:cubicBezTo>
                <a:cubicBezTo>
                  <a:pt x="183" y="202"/>
                  <a:pt x="176" y="199"/>
                  <a:pt x="167" y="199"/>
                </a:cubicBezTo>
                <a:cubicBezTo>
                  <a:pt x="139" y="199"/>
                  <a:pt x="117" y="221"/>
                  <a:pt x="117" y="249"/>
                </a:cubicBezTo>
                <a:cubicBezTo>
                  <a:pt x="117" y="276"/>
                  <a:pt x="139" y="298"/>
                  <a:pt x="167" y="298"/>
                </a:cubicBezTo>
                <a:cubicBezTo>
                  <a:pt x="202" y="298"/>
                  <a:pt x="202" y="298"/>
                  <a:pt x="202" y="298"/>
                </a:cubicBezTo>
                <a:cubicBezTo>
                  <a:pt x="208" y="298"/>
                  <a:pt x="213" y="303"/>
                  <a:pt x="213" y="309"/>
                </a:cubicBezTo>
                <a:cubicBezTo>
                  <a:pt x="213" y="315"/>
                  <a:pt x="208" y="320"/>
                  <a:pt x="202" y="320"/>
                </a:cubicBezTo>
                <a:cubicBezTo>
                  <a:pt x="167" y="320"/>
                  <a:pt x="167" y="320"/>
                  <a:pt x="167" y="320"/>
                </a:cubicBezTo>
                <a:cubicBezTo>
                  <a:pt x="127" y="320"/>
                  <a:pt x="96" y="288"/>
                  <a:pt x="96" y="249"/>
                </a:cubicBezTo>
                <a:cubicBezTo>
                  <a:pt x="96" y="210"/>
                  <a:pt x="127" y="178"/>
                  <a:pt x="167" y="178"/>
                </a:cubicBezTo>
                <a:cubicBezTo>
                  <a:pt x="176" y="178"/>
                  <a:pt x="183" y="180"/>
                  <a:pt x="190" y="183"/>
                </a:cubicBezTo>
                <a:cubicBezTo>
                  <a:pt x="203" y="150"/>
                  <a:pt x="235" y="128"/>
                  <a:pt x="272" y="128"/>
                </a:cubicBezTo>
                <a:cubicBezTo>
                  <a:pt x="319" y="128"/>
                  <a:pt x="358" y="166"/>
                  <a:pt x="358" y="213"/>
                </a:cubicBezTo>
                <a:cubicBezTo>
                  <a:pt x="360" y="213"/>
                  <a:pt x="361" y="213"/>
                  <a:pt x="362" y="213"/>
                </a:cubicBezTo>
                <a:cubicBezTo>
                  <a:pt x="392" y="213"/>
                  <a:pt x="416" y="237"/>
                  <a:pt x="416" y="266"/>
                </a:cubicBezTo>
                <a:cubicBezTo>
                  <a:pt x="416" y="296"/>
                  <a:pt x="392" y="320"/>
                  <a:pt x="362" y="320"/>
                </a:cubicBezTo>
                <a:close/>
              </a:path>
            </a:pathLst>
          </a:custGeom>
          <a:solidFill>
            <a:srgbClr val="F2130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4" name="Freeform 850">
            <a:extLst>
              <a:ext uri="{FF2B5EF4-FFF2-40B4-BE49-F238E27FC236}">
                <a16:creationId xmlns:a16="http://schemas.microsoft.com/office/drawing/2014/main" id="{E706803A-67B8-4A4D-B817-0ACC9F28562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4471" y="5298531"/>
            <a:ext cx="369021" cy="370106"/>
          </a:xfrm>
          <a:custGeom>
            <a:avLst/>
            <a:gdLst>
              <a:gd name="T0" fmla="*/ 181 w 512"/>
              <a:gd name="T1" fmla="*/ 384 h 512"/>
              <a:gd name="T2" fmla="*/ 170 w 512"/>
              <a:gd name="T3" fmla="*/ 394 h 512"/>
              <a:gd name="T4" fmla="*/ 160 w 512"/>
              <a:gd name="T5" fmla="*/ 384 h 512"/>
              <a:gd name="T6" fmla="*/ 170 w 512"/>
              <a:gd name="T7" fmla="*/ 373 h 512"/>
              <a:gd name="T8" fmla="*/ 181 w 512"/>
              <a:gd name="T9" fmla="*/ 384 h 512"/>
              <a:gd name="T10" fmla="*/ 256 w 512"/>
              <a:gd name="T11" fmla="*/ 373 h 512"/>
              <a:gd name="T12" fmla="*/ 245 w 512"/>
              <a:gd name="T13" fmla="*/ 384 h 512"/>
              <a:gd name="T14" fmla="*/ 256 w 512"/>
              <a:gd name="T15" fmla="*/ 394 h 512"/>
              <a:gd name="T16" fmla="*/ 266 w 512"/>
              <a:gd name="T17" fmla="*/ 384 h 512"/>
              <a:gd name="T18" fmla="*/ 256 w 512"/>
              <a:gd name="T19" fmla="*/ 373 h 512"/>
              <a:gd name="T20" fmla="*/ 256 w 512"/>
              <a:gd name="T21" fmla="*/ 117 h 512"/>
              <a:gd name="T22" fmla="*/ 245 w 512"/>
              <a:gd name="T23" fmla="*/ 128 h 512"/>
              <a:gd name="T24" fmla="*/ 256 w 512"/>
              <a:gd name="T25" fmla="*/ 138 h 512"/>
              <a:gd name="T26" fmla="*/ 266 w 512"/>
              <a:gd name="T27" fmla="*/ 128 h 512"/>
              <a:gd name="T28" fmla="*/ 256 w 512"/>
              <a:gd name="T29" fmla="*/ 117 h 512"/>
              <a:gd name="T30" fmla="*/ 341 w 512"/>
              <a:gd name="T31" fmla="*/ 373 h 512"/>
              <a:gd name="T32" fmla="*/ 330 w 512"/>
              <a:gd name="T33" fmla="*/ 384 h 512"/>
              <a:gd name="T34" fmla="*/ 341 w 512"/>
              <a:gd name="T35" fmla="*/ 394 h 512"/>
              <a:gd name="T36" fmla="*/ 352 w 512"/>
              <a:gd name="T37" fmla="*/ 384 h 512"/>
              <a:gd name="T38" fmla="*/ 341 w 512"/>
              <a:gd name="T39" fmla="*/ 373 h 512"/>
              <a:gd name="T40" fmla="*/ 512 w 512"/>
              <a:gd name="T41" fmla="*/ 256 h 512"/>
              <a:gd name="T42" fmla="*/ 256 w 512"/>
              <a:gd name="T43" fmla="*/ 512 h 512"/>
              <a:gd name="T44" fmla="*/ 0 w 512"/>
              <a:gd name="T45" fmla="*/ 256 h 512"/>
              <a:gd name="T46" fmla="*/ 256 w 512"/>
              <a:gd name="T47" fmla="*/ 0 h 512"/>
              <a:gd name="T48" fmla="*/ 512 w 512"/>
              <a:gd name="T49" fmla="*/ 256 h 512"/>
              <a:gd name="T50" fmla="*/ 373 w 512"/>
              <a:gd name="T51" fmla="*/ 384 h 512"/>
              <a:gd name="T52" fmla="*/ 352 w 512"/>
              <a:gd name="T53" fmla="*/ 354 h 512"/>
              <a:gd name="T54" fmla="*/ 352 w 512"/>
              <a:gd name="T55" fmla="*/ 277 h 512"/>
              <a:gd name="T56" fmla="*/ 320 w 512"/>
              <a:gd name="T57" fmla="*/ 245 h 512"/>
              <a:gd name="T58" fmla="*/ 266 w 512"/>
              <a:gd name="T59" fmla="*/ 245 h 512"/>
              <a:gd name="T60" fmla="*/ 266 w 512"/>
              <a:gd name="T61" fmla="*/ 158 h 512"/>
              <a:gd name="T62" fmla="*/ 288 w 512"/>
              <a:gd name="T63" fmla="*/ 128 h 512"/>
              <a:gd name="T64" fmla="*/ 256 w 512"/>
              <a:gd name="T65" fmla="*/ 96 h 512"/>
              <a:gd name="T66" fmla="*/ 224 w 512"/>
              <a:gd name="T67" fmla="*/ 128 h 512"/>
              <a:gd name="T68" fmla="*/ 245 w 512"/>
              <a:gd name="T69" fmla="*/ 158 h 512"/>
              <a:gd name="T70" fmla="*/ 245 w 512"/>
              <a:gd name="T71" fmla="*/ 245 h 512"/>
              <a:gd name="T72" fmla="*/ 192 w 512"/>
              <a:gd name="T73" fmla="*/ 245 h 512"/>
              <a:gd name="T74" fmla="*/ 160 w 512"/>
              <a:gd name="T75" fmla="*/ 277 h 512"/>
              <a:gd name="T76" fmla="*/ 160 w 512"/>
              <a:gd name="T77" fmla="*/ 354 h 512"/>
              <a:gd name="T78" fmla="*/ 138 w 512"/>
              <a:gd name="T79" fmla="*/ 384 h 512"/>
              <a:gd name="T80" fmla="*/ 170 w 512"/>
              <a:gd name="T81" fmla="*/ 416 h 512"/>
              <a:gd name="T82" fmla="*/ 202 w 512"/>
              <a:gd name="T83" fmla="*/ 384 h 512"/>
              <a:gd name="T84" fmla="*/ 181 w 512"/>
              <a:gd name="T85" fmla="*/ 354 h 512"/>
              <a:gd name="T86" fmla="*/ 181 w 512"/>
              <a:gd name="T87" fmla="*/ 277 h 512"/>
              <a:gd name="T88" fmla="*/ 192 w 512"/>
              <a:gd name="T89" fmla="*/ 266 h 512"/>
              <a:gd name="T90" fmla="*/ 245 w 512"/>
              <a:gd name="T91" fmla="*/ 266 h 512"/>
              <a:gd name="T92" fmla="*/ 245 w 512"/>
              <a:gd name="T93" fmla="*/ 354 h 512"/>
              <a:gd name="T94" fmla="*/ 224 w 512"/>
              <a:gd name="T95" fmla="*/ 384 h 512"/>
              <a:gd name="T96" fmla="*/ 256 w 512"/>
              <a:gd name="T97" fmla="*/ 416 h 512"/>
              <a:gd name="T98" fmla="*/ 288 w 512"/>
              <a:gd name="T99" fmla="*/ 384 h 512"/>
              <a:gd name="T100" fmla="*/ 266 w 512"/>
              <a:gd name="T101" fmla="*/ 354 h 512"/>
              <a:gd name="T102" fmla="*/ 266 w 512"/>
              <a:gd name="T103" fmla="*/ 266 h 512"/>
              <a:gd name="T104" fmla="*/ 320 w 512"/>
              <a:gd name="T105" fmla="*/ 266 h 512"/>
              <a:gd name="T106" fmla="*/ 330 w 512"/>
              <a:gd name="T107" fmla="*/ 277 h 512"/>
              <a:gd name="T108" fmla="*/ 330 w 512"/>
              <a:gd name="T109" fmla="*/ 354 h 512"/>
              <a:gd name="T110" fmla="*/ 309 w 512"/>
              <a:gd name="T111" fmla="*/ 384 h 512"/>
              <a:gd name="T112" fmla="*/ 341 w 512"/>
              <a:gd name="T113" fmla="*/ 416 h 512"/>
              <a:gd name="T114" fmla="*/ 373 w 512"/>
              <a:gd name="T115" fmla="*/ 38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181" y="384"/>
                </a:moveTo>
                <a:cubicBezTo>
                  <a:pt x="181" y="390"/>
                  <a:pt x="176" y="394"/>
                  <a:pt x="170" y="394"/>
                </a:cubicBezTo>
                <a:cubicBezTo>
                  <a:pt x="164" y="394"/>
                  <a:pt x="160" y="390"/>
                  <a:pt x="160" y="384"/>
                </a:cubicBezTo>
                <a:cubicBezTo>
                  <a:pt x="160" y="378"/>
                  <a:pt x="164" y="373"/>
                  <a:pt x="170" y="373"/>
                </a:cubicBezTo>
                <a:cubicBezTo>
                  <a:pt x="176" y="373"/>
                  <a:pt x="181" y="378"/>
                  <a:pt x="181" y="384"/>
                </a:cubicBezTo>
                <a:close/>
                <a:moveTo>
                  <a:pt x="256" y="373"/>
                </a:moveTo>
                <a:cubicBezTo>
                  <a:pt x="250" y="373"/>
                  <a:pt x="245" y="378"/>
                  <a:pt x="245" y="384"/>
                </a:cubicBezTo>
                <a:cubicBezTo>
                  <a:pt x="245" y="390"/>
                  <a:pt x="250" y="394"/>
                  <a:pt x="256" y="394"/>
                </a:cubicBezTo>
                <a:cubicBezTo>
                  <a:pt x="262" y="394"/>
                  <a:pt x="266" y="390"/>
                  <a:pt x="266" y="384"/>
                </a:cubicBezTo>
                <a:cubicBezTo>
                  <a:pt x="266" y="378"/>
                  <a:pt x="262" y="373"/>
                  <a:pt x="256" y="373"/>
                </a:cubicBezTo>
                <a:close/>
                <a:moveTo>
                  <a:pt x="256" y="117"/>
                </a:moveTo>
                <a:cubicBezTo>
                  <a:pt x="250" y="117"/>
                  <a:pt x="245" y="122"/>
                  <a:pt x="245" y="128"/>
                </a:cubicBezTo>
                <a:cubicBezTo>
                  <a:pt x="245" y="134"/>
                  <a:pt x="250" y="138"/>
                  <a:pt x="256" y="138"/>
                </a:cubicBezTo>
                <a:cubicBezTo>
                  <a:pt x="262" y="138"/>
                  <a:pt x="266" y="134"/>
                  <a:pt x="266" y="128"/>
                </a:cubicBezTo>
                <a:cubicBezTo>
                  <a:pt x="266" y="122"/>
                  <a:pt x="262" y="117"/>
                  <a:pt x="256" y="117"/>
                </a:cubicBezTo>
                <a:close/>
                <a:moveTo>
                  <a:pt x="341" y="373"/>
                </a:moveTo>
                <a:cubicBezTo>
                  <a:pt x="335" y="373"/>
                  <a:pt x="330" y="378"/>
                  <a:pt x="330" y="384"/>
                </a:cubicBezTo>
                <a:cubicBezTo>
                  <a:pt x="330" y="390"/>
                  <a:pt x="335" y="394"/>
                  <a:pt x="341" y="394"/>
                </a:cubicBezTo>
                <a:cubicBezTo>
                  <a:pt x="347" y="394"/>
                  <a:pt x="352" y="390"/>
                  <a:pt x="352" y="384"/>
                </a:cubicBezTo>
                <a:cubicBezTo>
                  <a:pt x="352" y="378"/>
                  <a:pt x="347" y="373"/>
                  <a:pt x="341" y="37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384"/>
                </a:moveTo>
                <a:cubicBezTo>
                  <a:pt x="373" y="370"/>
                  <a:pt x="364" y="358"/>
                  <a:pt x="352" y="354"/>
                </a:cubicBezTo>
                <a:cubicBezTo>
                  <a:pt x="352" y="277"/>
                  <a:pt x="352" y="277"/>
                  <a:pt x="352" y="277"/>
                </a:cubicBezTo>
                <a:cubicBezTo>
                  <a:pt x="352" y="254"/>
                  <a:pt x="333" y="245"/>
                  <a:pt x="320" y="245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266" y="158"/>
                  <a:pt x="266" y="158"/>
                  <a:pt x="266" y="158"/>
                </a:cubicBezTo>
                <a:cubicBezTo>
                  <a:pt x="279" y="153"/>
                  <a:pt x="288" y="142"/>
                  <a:pt x="288" y="128"/>
                </a:cubicBezTo>
                <a:cubicBezTo>
                  <a:pt x="288" y="110"/>
                  <a:pt x="273" y="96"/>
                  <a:pt x="256" y="96"/>
                </a:cubicBezTo>
                <a:cubicBezTo>
                  <a:pt x="238" y="96"/>
                  <a:pt x="224" y="110"/>
                  <a:pt x="224" y="128"/>
                </a:cubicBezTo>
                <a:cubicBezTo>
                  <a:pt x="224" y="142"/>
                  <a:pt x="233" y="153"/>
                  <a:pt x="245" y="158"/>
                </a:cubicBezTo>
                <a:cubicBezTo>
                  <a:pt x="245" y="245"/>
                  <a:pt x="245" y="245"/>
                  <a:pt x="245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69" y="245"/>
                  <a:pt x="160" y="264"/>
                  <a:pt x="160" y="277"/>
                </a:cubicBezTo>
                <a:cubicBezTo>
                  <a:pt x="160" y="354"/>
                  <a:pt x="160" y="354"/>
                  <a:pt x="160" y="354"/>
                </a:cubicBezTo>
                <a:cubicBezTo>
                  <a:pt x="147" y="358"/>
                  <a:pt x="138" y="370"/>
                  <a:pt x="138" y="384"/>
                </a:cubicBezTo>
                <a:cubicBezTo>
                  <a:pt x="138" y="401"/>
                  <a:pt x="153" y="416"/>
                  <a:pt x="170" y="416"/>
                </a:cubicBezTo>
                <a:cubicBezTo>
                  <a:pt x="188" y="416"/>
                  <a:pt x="202" y="401"/>
                  <a:pt x="202" y="384"/>
                </a:cubicBezTo>
                <a:cubicBezTo>
                  <a:pt x="202" y="370"/>
                  <a:pt x="193" y="358"/>
                  <a:pt x="181" y="354"/>
                </a:cubicBezTo>
                <a:cubicBezTo>
                  <a:pt x="181" y="277"/>
                  <a:pt x="181" y="277"/>
                  <a:pt x="181" y="277"/>
                </a:cubicBezTo>
                <a:cubicBezTo>
                  <a:pt x="181" y="275"/>
                  <a:pt x="182" y="266"/>
                  <a:pt x="192" y="266"/>
                </a:cubicBezTo>
                <a:cubicBezTo>
                  <a:pt x="245" y="266"/>
                  <a:pt x="245" y="266"/>
                  <a:pt x="245" y="266"/>
                </a:cubicBezTo>
                <a:cubicBezTo>
                  <a:pt x="245" y="354"/>
                  <a:pt x="245" y="354"/>
                  <a:pt x="245" y="354"/>
                </a:cubicBezTo>
                <a:cubicBezTo>
                  <a:pt x="233" y="358"/>
                  <a:pt x="224" y="370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ubicBezTo>
                  <a:pt x="288" y="370"/>
                  <a:pt x="279" y="358"/>
                  <a:pt x="266" y="354"/>
                </a:cubicBezTo>
                <a:cubicBezTo>
                  <a:pt x="266" y="266"/>
                  <a:pt x="266" y="266"/>
                  <a:pt x="266" y="266"/>
                </a:cubicBezTo>
                <a:cubicBezTo>
                  <a:pt x="320" y="266"/>
                  <a:pt x="320" y="266"/>
                  <a:pt x="320" y="266"/>
                </a:cubicBezTo>
                <a:cubicBezTo>
                  <a:pt x="324" y="266"/>
                  <a:pt x="330" y="268"/>
                  <a:pt x="330" y="277"/>
                </a:cubicBezTo>
                <a:cubicBezTo>
                  <a:pt x="330" y="354"/>
                  <a:pt x="330" y="354"/>
                  <a:pt x="330" y="354"/>
                </a:cubicBezTo>
                <a:cubicBezTo>
                  <a:pt x="318" y="358"/>
                  <a:pt x="309" y="370"/>
                  <a:pt x="309" y="384"/>
                </a:cubicBezTo>
                <a:cubicBezTo>
                  <a:pt x="309" y="401"/>
                  <a:pt x="323" y="416"/>
                  <a:pt x="341" y="416"/>
                </a:cubicBezTo>
                <a:cubicBezTo>
                  <a:pt x="359" y="416"/>
                  <a:pt x="373" y="401"/>
                  <a:pt x="373" y="384"/>
                </a:cubicBezTo>
                <a:close/>
              </a:path>
            </a:pathLst>
          </a:custGeom>
          <a:solidFill>
            <a:srgbClr val="F2130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BDF4B66-82E7-48FE-9AE1-913F4275AD5A}"/>
              </a:ext>
            </a:extLst>
          </p:cNvPr>
          <p:cNvSpPr/>
          <p:nvPr/>
        </p:nvSpPr>
        <p:spPr>
          <a:xfrm>
            <a:off x="6817378" y="3457776"/>
            <a:ext cx="495240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AU" sz="1100" b="1" dirty="0">
                <a:latin typeface="Arial"/>
                <a:ea typeface="Open Sans" panose="020B0606030504020204" pitchFamily="34" charset="0"/>
                <a:cs typeface="Arial"/>
              </a:rPr>
              <a:t>Data Sensitivity </a:t>
            </a:r>
            <a:r>
              <a:rPr lang="en-AU" sz="1100" dirty="0">
                <a:latin typeface="Arial"/>
                <a:ea typeface="Open Sans" panose="020B0606030504020204" pitchFamily="34" charset="0"/>
                <a:cs typeface="Arial"/>
              </a:rPr>
              <a:t>– In the Cloud, extremely sensitive information can prove to be an inhibitor as the exact location of data may or may not be known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F00CC1E-FEDC-46BF-82AD-176E283713D9}"/>
              </a:ext>
            </a:extLst>
          </p:cNvPr>
          <p:cNvSpPr/>
          <p:nvPr/>
        </p:nvSpPr>
        <p:spPr>
          <a:xfrm>
            <a:off x="6817378" y="4055473"/>
            <a:ext cx="495240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US" sz="1100" b="1" dirty="0"/>
              <a:t>Desktop Applications </a:t>
            </a:r>
            <a:r>
              <a:rPr lang="en-US" sz="1100" dirty="0"/>
              <a:t>– Desktop applications typically have high performance and low latency requirements; hence, recommended to remain as it is. Efficiency cannot be compromised.</a:t>
            </a:r>
            <a:endParaRPr lang="en-AU" sz="1100" dirty="0"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FD1A481-AF93-42DD-B9BF-84CED5092C4D}"/>
              </a:ext>
            </a:extLst>
          </p:cNvPr>
          <p:cNvSpPr/>
          <p:nvPr/>
        </p:nvSpPr>
        <p:spPr>
          <a:xfrm>
            <a:off x="6876030" y="4629916"/>
            <a:ext cx="495240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US" sz="1100" b="1" dirty="0"/>
              <a:t>Hardware Dependencies </a:t>
            </a:r>
            <a:r>
              <a:rPr lang="en-US" sz="1100" dirty="0"/>
              <a:t>– Configurations that make use of high specification, not in current use are better not to take up in cloud based model.</a:t>
            </a:r>
            <a:endParaRPr lang="en-AU" sz="1100" dirty="0">
              <a:latin typeface="Arial"/>
              <a:ea typeface="Open Sans" panose="020B0606030504020204" pitchFamily="34" charset="0"/>
              <a:cs typeface="Arial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42A101EE-7D70-4294-B4B1-748EA28CCD8D}"/>
              </a:ext>
            </a:extLst>
          </p:cNvPr>
          <p:cNvSpPr/>
          <p:nvPr/>
        </p:nvSpPr>
        <p:spPr>
          <a:xfrm>
            <a:off x="6890539" y="5165059"/>
            <a:ext cx="495240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SzPct val="100000"/>
              <a:defRPr/>
            </a:pPr>
            <a:r>
              <a:rPr lang="en-US" sz="1100" b="1" dirty="0"/>
              <a:t>High Degree of Customization </a:t>
            </a:r>
            <a:r>
              <a:rPr lang="en-US" sz="1100" dirty="0"/>
              <a:t>– Applications with a large amount of customization need to have a more detailed discovery and analysis of the application changes to ensure that all the custom features are accounted for in the Cloud. </a:t>
            </a:r>
            <a:endParaRPr lang="en-AU" sz="1100" dirty="0">
              <a:latin typeface="Arial"/>
              <a:ea typeface="Open Sans" panose="020B0606030504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979480"/>
              </p:ext>
            </p:extLst>
          </p:nvPr>
        </p:nvGraphicFramePr>
        <p:xfrm>
          <a:off x="426542" y="1090604"/>
          <a:ext cx="11340000" cy="54823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967877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860336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cho3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atform that hosts and streams all lecture recorded video and audio content. </a:t>
                      </a:r>
                    </a:p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ess to cloud based Echo-360 becomes easy and would be available for all students.</a:t>
                      </a:r>
                    </a:p>
                    <a:p>
                      <a:pPr algn="l" fontAlgn="ctr"/>
                      <a:r>
                        <a:rPr lang="en-AU" sz="1400" dirty="0">
                          <a:latin typeface="Calibri"/>
                        </a:rPr>
                        <a:t>High number of users, high volatility, high amount of data .</a:t>
                      </a:r>
                    </a:p>
                    <a:p>
                      <a:pPr algn="l" fontAlgn="ctr"/>
                      <a:r>
                        <a:rPr lang="en-A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  <a:cs typeface="Times New Roman" panose="02020603050405020304" pitchFamily="18" charset="0"/>
                        </a:rPr>
                        <a:t>Data is not sensitiv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860336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rollments Plu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rollment system for new and returning students to apply for classes at set points during the year. </a:t>
                      </a:r>
                    </a:p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ata can be edited ,modified by users from any place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860336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arning Management Syste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atform where you can find all subject's information and announcements</a:t>
                      </a:r>
                    </a:p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ess to cloud based model brings efficiency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860336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fluenc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fluence could easily be shifted as a Service (SaaS) offering with minimal effort. </a:t>
                      </a:r>
                    </a:p>
                    <a:p>
                      <a:pPr algn="l" fontAlgn="ctr"/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 is typically used for document storage, which would make it simple to transfer files</a:t>
                      </a:r>
                    </a:p>
                    <a:p>
                      <a:pPr algn="l" fontAlgn="ctr"/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 does not have any sensitive data or an immense volume of it.</a:t>
                      </a:r>
                    </a:p>
                    <a:p>
                      <a:pPr algn="l" fontAlgn="ctr"/>
                      <a:r>
                        <a:rPr lang="en-US" sz="14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urthermore, the application has minimal customization meaning it would not require refactoring or changes to the code to move to Cloud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860336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ePoin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AU" sz="1400" dirty="0">
                          <a:latin typeface="Calibri"/>
                        </a:rPr>
                        <a:t>Already has a high SaaS degree and does not have sensitive data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cess to cloud based model brings efficiency.</a:t>
                      </a:r>
                    </a:p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</TotalTime>
  <Words>695</Words>
  <Application>Microsoft Office PowerPoint</Application>
  <PresentationFormat>Widescreen</PresentationFormat>
  <Paragraphs>5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Open Sans</vt:lpstr>
      <vt:lpstr>Segoe UI Light</vt:lpstr>
      <vt:lpstr>Times New Roman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Amandeep Kaur</cp:lastModifiedBy>
  <cp:revision>33</cp:revision>
  <dcterms:created xsi:type="dcterms:W3CDTF">2019-03-31T19:26:34Z</dcterms:created>
  <dcterms:modified xsi:type="dcterms:W3CDTF">2020-05-25T09:05:28Z</dcterms:modified>
</cp:coreProperties>
</file>